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13"/>
  </p:notesMasterIdLst>
  <p:handoutMasterIdLst>
    <p:handoutMasterId r:id="rId14"/>
  </p:handoutMasterIdLst>
  <p:sldIdLst>
    <p:sldId id="498" r:id="rId7"/>
    <p:sldId id="562" r:id="rId8"/>
    <p:sldId id="563" r:id="rId9"/>
    <p:sldId id="564" r:id="rId10"/>
    <p:sldId id="565" r:id="rId11"/>
    <p:sldId id="561" r:id="rId12"/>
  </p:sldIdLst>
  <p:sldSz cx="12192000" cy="6858000"/>
  <p:notesSz cx="6858000" cy="9947275"/>
  <p:custDataLst>
    <p:tags r:id="rId15"/>
  </p:custDataLst>
  <p:defaultTextStyle>
    <a:defPPr>
      <a:defRPr lang="de-DE"/>
    </a:defPPr>
    <a:lvl1pPr marL="0" indent="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None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Char char="§"/>
      <a:defRPr sz="1600" kern="1200">
        <a:solidFill>
          <a:srgbClr val="1C1854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None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16000" indent="-21600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432000" indent="-21600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pos="528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orient="horz" pos="4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201751"/>
    <a:srgbClr val="1F17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E97D87-A029-4C6C-A0FF-1963AD8DBCBE}">
  <a:tblStyle styleId="{69E97D87-A029-4C6C-A0FF-1963AD8DBCBE}" styleName="EUREX Tab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/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/>
      </a:tcStyle>
    </a:band2V>
    <a:lastCo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30FC0DDD-37FB-4523-A006-01308BA8B187}" styleName="EUREX Table Green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/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/>
      </a:tcStyle>
    </a:band2V>
    <a:lastCol>
      <a:tcTxStyle b="on" i="off">
        <a:fontRef idx="minor"/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swCell>
    <a:firstRow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3328C8A7-C3E3-475F-BAE9-F2AA3C6B7DF7}" styleName="EUREX Table Grid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1"/>
          </a:solidFill>
        </a:fill>
      </a:tcStyle>
    </a:band2H>
    <a:band1V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1"/>
          </a:solidFill>
        </a:fill>
      </a:tcStyle>
    </a:band2V>
    <a:lastCol>
      <a:tcTxStyle b="on" i="off">
        <a:fontRef idx="minor"/>
        <a:schemeClr val="tx1"/>
      </a:tcTxStyle>
      <a:tcStyle>
        <a:tcBdr>
          <a:left>
            <a:ln w="19050" cap="flat" cmpd="sng" algn="ctr">
              <a:solidFill>
                <a:srgbClr val="FFFFFF"/>
              </a:solidFill>
              <a:prstDash val="solid"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bg2"/>
      </a:tcTxStyle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ap="flat" cmpd="sng" algn="ctr">
              <a:solidFill>
                <a:srgbClr val="FFFFFF"/>
              </a:solidFill>
              <a:prstDash val="solid"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ap="flat" cmpd="sng" algn="ctr">
              <a:solidFill>
                <a:srgbClr val="FFFFFF"/>
              </a:solidFill>
              <a:prstDash val="solid"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Objects="1" showGuides="1">
      <p:cViewPr varScale="1">
        <p:scale>
          <a:sx n="84" d="100"/>
          <a:sy n="84" d="100"/>
        </p:scale>
        <p:origin x="27" y="371"/>
      </p:cViewPr>
      <p:guideLst>
        <p:guide orient="horz" pos="144"/>
        <p:guide pos="5280"/>
        <p:guide pos="240"/>
        <p:guide orient="horz" pos="4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21" d="100"/>
          <a:sy n="121" d="100"/>
        </p:scale>
        <p:origin x="3990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64628E9-09A9-41A1-BA0F-64ED3F8EAB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299F13-B674-4F0C-91D5-5A9F8600A5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B42EC-036F-448D-9D6B-264CF4D9AD5E}" type="datetimeFigureOut">
              <a:rPr lang="de-DE" smtClean="0"/>
              <a:t>17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BADF13-FAC5-4341-A983-76083E21350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105283-9844-4FA4-8ED5-E398C5C496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9DB8B-FD84-473E-8D2A-AD8FDE25B74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5889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68ACA-AF5A-4E1F-89CF-71C85BC01196}" type="datetimeFigureOut">
              <a:rPr lang="de-DE" smtClean="0"/>
              <a:t>17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E2F00-0481-4374-BAE1-182BA4DD3D8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42151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9127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6335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134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2605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7454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E2F00-0481-4374-BAE1-182BA4DD3D8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399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9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7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emf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96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01751"/>
                </a:solidFill>
              </a:defRPr>
            </a:lvl1pPr>
          </a:lstStyle>
          <a:p>
            <a:fld id="{0306DCFF-9441-4067-89C8-80BA1DD2FCF1}" type="datetime3">
              <a:rPr lang="en-US" smtClean="0"/>
              <a:pPr/>
              <a:t>17 January 2022</a:t>
            </a:fld>
            <a:endParaRPr lang="en-US" dirty="0"/>
          </a:p>
        </p:txBody>
      </p:sp>
      <p:grpSp>
        <p:nvGrpSpPr>
          <p:cNvPr id="28" name="Grafik 26">
            <a:extLst>
              <a:ext uri="{FF2B5EF4-FFF2-40B4-BE49-F238E27FC236}">
                <a16:creationId xmlns:a16="http://schemas.microsoft.com/office/drawing/2014/main" id="{3D57C2D4-C01A-4857-9D61-9F2435B053AD}"/>
              </a:ext>
            </a:extLst>
          </p:cNvPr>
          <p:cNvGrpSpPr/>
          <p:nvPr/>
        </p:nvGrpSpPr>
        <p:grpSpPr>
          <a:xfrm flipV="1">
            <a:off x="8796137" y="2744924"/>
            <a:ext cx="3392976" cy="4120042"/>
            <a:chOff x="5267908" y="2744924"/>
            <a:chExt cx="3392976" cy="4120042"/>
          </a:xfrm>
        </p:grpSpPr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DE8DAE5-42A1-4DC4-8EBC-FC4EB00505B8}"/>
                </a:ext>
              </a:extLst>
            </p:cNvPr>
            <p:cNvSpPr/>
            <p:nvPr/>
          </p:nvSpPr>
          <p:spPr>
            <a:xfrm>
              <a:off x="6479685" y="3229634"/>
              <a:ext cx="1211777" cy="1211777"/>
            </a:xfrm>
            <a:custGeom>
              <a:avLst/>
              <a:gdLst>
                <a:gd name="connsiteX0" fmla="*/ 0 w 1211777"/>
                <a:gd name="connsiteY0" fmla="*/ 0 h 1211777"/>
                <a:gd name="connsiteX1" fmla="*/ 1211777 w 1211777"/>
                <a:gd name="connsiteY1" fmla="*/ 0 h 1211777"/>
                <a:gd name="connsiteX2" fmla="*/ 1211777 w 1211777"/>
                <a:gd name="connsiteY2" fmla="*/ 1211777 h 1211777"/>
                <a:gd name="connsiteX3" fmla="*/ 0 w 1211777"/>
                <a:gd name="connsiteY3" fmla="*/ 1211777 h 121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1211777">
                  <a:moveTo>
                    <a:pt x="0" y="0"/>
                  </a:moveTo>
                  <a:lnTo>
                    <a:pt x="1211777" y="0"/>
                  </a:lnTo>
                  <a:lnTo>
                    <a:pt x="1211777" y="1211777"/>
                  </a:lnTo>
                  <a:lnTo>
                    <a:pt x="0" y="1211777"/>
                  </a:lnTo>
                  <a:close/>
                </a:path>
              </a:pathLst>
            </a:custGeom>
            <a:solidFill>
              <a:srgbClr val="00CE7D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A006B06-7E30-476E-80C1-4F201D7E84E9}"/>
                </a:ext>
              </a:extLst>
            </p:cNvPr>
            <p:cNvSpPr/>
            <p:nvPr/>
          </p:nvSpPr>
          <p:spPr>
            <a:xfrm>
              <a:off x="5267908" y="2744924"/>
              <a:ext cx="1211777" cy="484710"/>
            </a:xfrm>
            <a:custGeom>
              <a:avLst/>
              <a:gdLst>
                <a:gd name="connsiteX0" fmla="*/ 0 w 1211777"/>
                <a:gd name="connsiteY0" fmla="*/ 0 h 484710"/>
                <a:gd name="connsiteX1" fmla="*/ 1211777 w 1211777"/>
                <a:gd name="connsiteY1" fmla="*/ 0 h 484710"/>
                <a:gd name="connsiteX2" fmla="*/ 1211777 w 1211777"/>
                <a:gd name="connsiteY2" fmla="*/ 484711 h 484710"/>
                <a:gd name="connsiteX3" fmla="*/ 0 w 1211777"/>
                <a:gd name="connsiteY3" fmla="*/ 484711 h 48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484710">
                  <a:moveTo>
                    <a:pt x="0" y="0"/>
                  </a:moveTo>
                  <a:lnTo>
                    <a:pt x="1211777" y="0"/>
                  </a:lnTo>
                  <a:lnTo>
                    <a:pt x="1211777" y="484711"/>
                  </a:lnTo>
                  <a:lnTo>
                    <a:pt x="0" y="484711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E708ABD0-790C-43C1-84ED-8175CC87B7CB}"/>
                </a:ext>
              </a:extLst>
            </p:cNvPr>
            <p:cNvSpPr/>
            <p:nvPr/>
          </p:nvSpPr>
          <p:spPr>
            <a:xfrm>
              <a:off x="5267908" y="4441411"/>
              <a:ext cx="1211777" cy="2423554"/>
            </a:xfrm>
            <a:custGeom>
              <a:avLst/>
              <a:gdLst>
                <a:gd name="connsiteX0" fmla="*/ 0 w 1211777"/>
                <a:gd name="connsiteY0" fmla="*/ 0 h 2423554"/>
                <a:gd name="connsiteX1" fmla="*/ 1211777 w 1211777"/>
                <a:gd name="connsiteY1" fmla="*/ 0 h 2423554"/>
                <a:gd name="connsiteX2" fmla="*/ 1211777 w 1211777"/>
                <a:gd name="connsiteY2" fmla="*/ 2423554 h 2423554"/>
                <a:gd name="connsiteX3" fmla="*/ 0 w 1211777"/>
                <a:gd name="connsiteY3" fmla="*/ 2423554 h 242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2423554">
                  <a:moveTo>
                    <a:pt x="0" y="0"/>
                  </a:moveTo>
                  <a:lnTo>
                    <a:pt x="1211777" y="0"/>
                  </a:lnTo>
                  <a:lnTo>
                    <a:pt x="1211777" y="2423554"/>
                  </a:lnTo>
                  <a:lnTo>
                    <a:pt x="0" y="2423554"/>
                  </a:lnTo>
                  <a:close/>
                </a:path>
              </a:pathLst>
            </a:custGeom>
            <a:gradFill>
              <a:gsLst>
                <a:gs pos="90000">
                  <a:schemeClr val="bg2"/>
                </a:gs>
                <a:gs pos="20000">
                  <a:srgbClr val="00CE7D"/>
                </a:gs>
              </a:gsLst>
              <a:lin ang="5400000" scaled="1"/>
            </a:gra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1CDDECDE-B2C3-49EE-ACEE-E824431939D5}"/>
                </a:ext>
              </a:extLst>
            </p:cNvPr>
            <p:cNvSpPr/>
            <p:nvPr/>
          </p:nvSpPr>
          <p:spPr>
            <a:xfrm>
              <a:off x="7691462" y="2744924"/>
              <a:ext cx="969421" cy="1696487"/>
            </a:xfrm>
            <a:custGeom>
              <a:avLst/>
              <a:gdLst>
                <a:gd name="connsiteX0" fmla="*/ 969422 w 969421"/>
                <a:gd name="connsiteY0" fmla="*/ 0 h 1696487"/>
                <a:gd name="connsiteX1" fmla="*/ 0 w 969421"/>
                <a:gd name="connsiteY1" fmla="*/ 0 h 1696487"/>
                <a:gd name="connsiteX2" fmla="*/ 0 w 969421"/>
                <a:gd name="connsiteY2" fmla="*/ 1696488 h 1696487"/>
                <a:gd name="connsiteX3" fmla="*/ 969422 w 969421"/>
                <a:gd name="connsiteY3" fmla="*/ 1211898 h 1696487"/>
                <a:gd name="connsiteX4" fmla="*/ 969422 w 969421"/>
                <a:gd name="connsiteY4" fmla="*/ 0 h 169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9421" h="1696487">
                  <a:moveTo>
                    <a:pt x="969422" y="0"/>
                  </a:moveTo>
                  <a:lnTo>
                    <a:pt x="0" y="0"/>
                  </a:lnTo>
                  <a:lnTo>
                    <a:pt x="0" y="1696488"/>
                  </a:lnTo>
                  <a:cubicBezTo>
                    <a:pt x="396372" y="1696488"/>
                    <a:pt x="748394" y="1506118"/>
                    <a:pt x="969422" y="1211898"/>
                  </a:cubicBezTo>
                  <a:lnTo>
                    <a:pt x="969422" y="0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7A91B63-ABB8-431C-8DC5-318EADCEA8A7}"/>
                </a:ext>
              </a:extLst>
            </p:cNvPr>
            <p:cNvSpPr/>
            <p:nvPr/>
          </p:nvSpPr>
          <p:spPr>
            <a:xfrm>
              <a:off x="7691462" y="5895544"/>
              <a:ext cx="969421" cy="969421"/>
            </a:xfrm>
            <a:custGeom>
              <a:avLst/>
              <a:gdLst>
                <a:gd name="connsiteX0" fmla="*/ 0 w 969421"/>
                <a:gd name="connsiteY0" fmla="*/ 969422 h 969421"/>
                <a:gd name="connsiteX1" fmla="*/ 969422 w 969421"/>
                <a:gd name="connsiteY1" fmla="*/ 969422 h 969421"/>
                <a:gd name="connsiteX2" fmla="*/ 969422 w 969421"/>
                <a:gd name="connsiteY2" fmla="*/ 0 h 96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9421" h="969421">
                  <a:moveTo>
                    <a:pt x="0" y="969422"/>
                  </a:moveTo>
                  <a:lnTo>
                    <a:pt x="969422" y="969422"/>
                  </a:lnTo>
                  <a:lnTo>
                    <a:pt x="969422" y="0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42AE8AFB-D670-4E0D-A62C-E61AED66A362}"/>
                </a:ext>
              </a:extLst>
            </p:cNvPr>
            <p:cNvSpPr/>
            <p:nvPr/>
          </p:nvSpPr>
          <p:spPr>
            <a:xfrm>
              <a:off x="6479685" y="4441411"/>
              <a:ext cx="2181198" cy="2423554"/>
            </a:xfrm>
            <a:custGeom>
              <a:avLst/>
              <a:gdLst>
                <a:gd name="connsiteX0" fmla="*/ 2181199 w 2181198"/>
                <a:gd name="connsiteY0" fmla="*/ 0 h 2423554"/>
                <a:gd name="connsiteX1" fmla="*/ 1211777 w 2181198"/>
                <a:gd name="connsiteY1" fmla="*/ 0 h 2423554"/>
                <a:gd name="connsiteX2" fmla="*/ 0 w 2181198"/>
                <a:gd name="connsiteY2" fmla="*/ 1211777 h 2423554"/>
                <a:gd name="connsiteX3" fmla="*/ 0 w 2181198"/>
                <a:gd name="connsiteY3" fmla="*/ 2423554 h 2423554"/>
                <a:gd name="connsiteX4" fmla="*/ 2181199 w 2181198"/>
                <a:gd name="connsiteY4" fmla="*/ 242355 h 242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1198" h="2423554">
                  <a:moveTo>
                    <a:pt x="2181199" y="0"/>
                  </a:moveTo>
                  <a:lnTo>
                    <a:pt x="1211777" y="0"/>
                  </a:lnTo>
                  <a:lnTo>
                    <a:pt x="0" y="1211777"/>
                  </a:lnTo>
                  <a:lnTo>
                    <a:pt x="0" y="2423554"/>
                  </a:lnTo>
                  <a:lnTo>
                    <a:pt x="2181199" y="242355"/>
                  </a:lnTo>
                  <a:close/>
                </a:path>
              </a:pathLst>
            </a:custGeom>
            <a:gradFill flip="none" rotWithShape="1">
              <a:gsLst>
                <a:gs pos="19000">
                  <a:srgbClr val="F3F3F3"/>
                </a:gs>
                <a:gs pos="80000">
                  <a:srgbClr val="00CE7D"/>
                </a:gs>
              </a:gsLst>
              <a:lin ang="5400000" scaled="1"/>
              <a:tileRect/>
            </a:gra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00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41C4611-834B-4041-91F3-915A77DC6D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4EF5AA7-A7AA-4571-AB53-31BB9B697D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200" y="6376858"/>
            <a:ext cx="576063" cy="12603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7A32B11-6251-44A6-A455-7582171F14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73990" y="2060575"/>
            <a:ext cx="1718009" cy="2577013"/>
            <a:chOff x="10473990" y="2384884"/>
            <a:chExt cx="1718009" cy="2577013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FE4E3F4A-92EE-40B8-83C3-F687E3836A35}"/>
                </a:ext>
              </a:extLst>
            </p:cNvPr>
            <p:cNvSpPr/>
            <p:nvPr/>
          </p:nvSpPr>
          <p:spPr>
            <a:xfrm>
              <a:off x="10473990" y="4102893"/>
              <a:ext cx="859004" cy="859004"/>
            </a:xfrm>
            <a:custGeom>
              <a:avLst/>
              <a:gdLst>
                <a:gd name="connsiteX0" fmla="*/ 0 w 859004"/>
                <a:gd name="connsiteY0" fmla="*/ 0 h 859004"/>
                <a:gd name="connsiteX1" fmla="*/ 859005 w 859004"/>
                <a:gd name="connsiteY1" fmla="*/ 0 h 859004"/>
                <a:gd name="connsiteX2" fmla="*/ 859005 w 859004"/>
                <a:gd name="connsiteY2" fmla="*/ 859005 h 859004"/>
                <a:gd name="connsiteX3" fmla="*/ 0 w 859004"/>
                <a:gd name="connsiteY3" fmla="*/ 859005 h 85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9004" h="859004">
                  <a:moveTo>
                    <a:pt x="0" y="0"/>
                  </a:moveTo>
                  <a:lnTo>
                    <a:pt x="859005" y="0"/>
                  </a:lnTo>
                  <a:lnTo>
                    <a:pt x="859005" y="859005"/>
                  </a:lnTo>
                  <a:lnTo>
                    <a:pt x="0" y="859005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CA577BB-972D-4F24-9540-3277C01DF70D}"/>
                </a:ext>
              </a:extLst>
            </p:cNvPr>
            <p:cNvSpPr/>
            <p:nvPr/>
          </p:nvSpPr>
          <p:spPr>
            <a:xfrm>
              <a:off x="11332994" y="2384884"/>
              <a:ext cx="859004" cy="859004"/>
            </a:xfrm>
            <a:custGeom>
              <a:avLst/>
              <a:gdLst>
                <a:gd name="connsiteX0" fmla="*/ 859005 w 859004"/>
                <a:gd name="connsiteY0" fmla="*/ 859005 h 859004"/>
                <a:gd name="connsiteX1" fmla="*/ 0 w 859004"/>
                <a:gd name="connsiteY1" fmla="*/ 0 h 859004"/>
                <a:gd name="connsiteX2" fmla="*/ 859005 w 859004"/>
                <a:gd name="connsiteY2" fmla="*/ 0 h 85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9004" h="859004">
                  <a:moveTo>
                    <a:pt x="859005" y="859005"/>
                  </a:moveTo>
                  <a:lnTo>
                    <a:pt x="0" y="0"/>
                  </a:lnTo>
                  <a:lnTo>
                    <a:pt x="859005" y="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ED901D5-BFA6-429C-BBEF-FF46FC43B6B5}"/>
                </a:ext>
              </a:extLst>
            </p:cNvPr>
            <p:cNvSpPr/>
            <p:nvPr/>
          </p:nvSpPr>
          <p:spPr>
            <a:xfrm>
              <a:off x="10473990" y="2384884"/>
              <a:ext cx="1718009" cy="1718009"/>
            </a:xfrm>
            <a:custGeom>
              <a:avLst/>
              <a:gdLst>
                <a:gd name="connsiteX0" fmla="*/ 859005 w 1718009"/>
                <a:gd name="connsiteY0" fmla="*/ 859005 h 1718009"/>
                <a:gd name="connsiteX1" fmla="*/ 1718009 w 1718009"/>
                <a:gd name="connsiteY1" fmla="*/ 1718009 h 1718009"/>
                <a:gd name="connsiteX2" fmla="*/ 859005 w 1718009"/>
                <a:gd name="connsiteY2" fmla="*/ 1718009 h 1718009"/>
                <a:gd name="connsiteX3" fmla="*/ 0 w 1718009"/>
                <a:gd name="connsiteY3" fmla="*/ 859005 h 1718009"/>
                <a:gd name="connsiteX4" fmla="*/ 0 w 1718009"/>
                <a:gd name="connsiteY4" fmla="*/ 0 h 171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8009" h="1718009">
                  <a:moveTo>
                    <a:pt x="859005" y="859005"/>
                  </a:moveTo>
                  <a:lnTo>
                    <a:pt x="1718009" y="1718009"/>
                  </a:lnTo>
                  <a:lnTo>
                    <a:pt x="859005" y="1718009"/>
                  </a:lnTo>
                  <a:lnTo>
                    <a:pt x="0" y="8590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7E09BA-4FEF-48FD-B8AD-8B50BF94E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2A3BE7-7538-4ED6-A67C-2644D387AE0C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47D739-476D-4DE4-8BF7-5CCF6A910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18345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(grün)">
    <p:bg>
      <p:bgPr>
        <a:solidFill>
          <a:srgbClr val="00C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41C4611-834B-4041-91F3-915A77DC6D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1165" y="-487273"/>
            <a:ext cx="815757" cy="162534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EDF4B65-EABB-4FE0-B71C-17F94088B9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6376596"/>
            <a:ext cx="576063" cy="126555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C2E47A4-CAB6-46B8-BE0C-44B1499FF68C}"/>
              </a:ext>
            </a:extLst>
          </p:cNvPr>
          <p:cNvGrpSpPr/>
          <p:nvPr userDrawn="1"/>
        </p:nvGrpSpPr>
        <p:grpSpPr>
          <a:xfrm>
            <a:off x="9167664" y="2060848"/>
            <a:ext cx="3024336" cy="1512168"/>
            <a:chOff x="9167664" y="2060848"/>
            <a:chExt cx="3024336" cy="1512168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16D54DAA-8AB7-4859-BE73-CA410CA89430}"/>
                </a:ext>
              </a:extLst>
            </p:cNvPr>
            <p:cNvSpPr/>
            <p:nvPr/>
          </p:nvSpPr>
          <p:spPr>
            <a:xfrm>
              <a:off x="11435916" y="2060848"/>
              <a:ext cx="756084" cy="756084"/>
            </a:xfrm>
            <a:custGeom>
              <a:avLst/>
              <a:gdLst>
                <a:gd name="connsiteX0" fmla="*/ 756084 w 756084"/>
                <a:gd name="connsiteY0" fmla="*/ 0 h 756084"/>
                <a:gd name="connsiteX1" fmla="*/ 756084 w 756084"/>
                <a:gd name="connsiteY1" fmla="*/ 756084 h 756084"/>
                <a:gd name="connsiteX2" fmla="*/ 0 w 756084"/>
                <a:gd name="connsiteY2" fmla="*/ 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6084" h="756084">
                  <a:moveTo>
                    <a:pt x="756084" y="0"/>
                  </a:moveTo>
                  <a:lnTo>
                    <a:pt x="756084" y="7560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751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BF8DF8B8-D3D5-4E11-A199-7C77DE2D3D27}"/>
                </a:ext>
              </a:extLst>
            </p:cNvPr>
            <p:cNvSpPr/>
            <p:nvPr/>
          </p:nvSpPr>
          <p:spPr>
            <a:xfrm>
              <a:off x="10679832" y="2060848"/>
              <a:ext cx="1512168" cy="1512168"/>
            </a:xfrm>
            <a:custGeom>
              <a:avLst/>
              <a:gdLst>
                <a:gd name="connsiteX0" fmla="*/ 0 w 1512168"/>
                <a:gd name="connsiteY0" fmla="*/ 0 h 1512168"/>
                <a:gd name="connsiteX1" fmla="*/ 0 w 1512168"/>
                <a:gd name="connsiteY1" fmla="*/ 756084 h 1512168"/>
                <a:gd name="connsiteX2" fmla="*/ 756084 w 1512168"/>
                <a:gd name="connsiteY2" fmla="*/ 1512168 h 1512168"/>
                <a:gd name="connsiteX3" fmla="*/ 1512168 w 1512168"/>
                <a:gd name="connsiteY3" fmla="*/ 1512168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2168" h="1512168">
                  <a:moveTo>
                    <a:pt x="0" y="0"/>
                  </a:moveTo>
                  <a:lnTo>
                    <a:pt x="0" y="756084"/>
                  </a:lnTo>
                  <a:lnTo>
                    <a:pt x="756084" y="1512168"/>
                  </a:lnTo>
                  <a:lnTo>
                    <a:pt x="1512168" y="1512168"/>
                  </a:lnTo>
                  <a:close/>
                </a:path>
              </a:pathLst>
            </a:custGeom>
            <a:solidFill>
              <a:srgbClr val="FFFFFF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56CB23BD-376E-494C-B9BD-49C693E7B475}"/>
                </a:ext>
              </a:extLst>
            </p:cNvPr>
            <p:cNvSpPr/>
            <p:nvPr/>
          </p:nvSpPr>
          <p:spPr>
            <a:xfrm>
              <a:off x="9167664" y="2060848"/>
              <a:ext cx="1512168" cy="756084"/>
            </a:xfrm>
            <a:custGeom>
              <a:avLst/>
              <a:gdLst>
                <a:gd name="connsiteX0" fmla="*/ 1134126 w 1512168"/>
                <a:gd name="connsiteY0" fmla="*/ 0 h 756084"/>
                <a:gd name="connsiteX1" fmla="*/ 1134126 w 1512168"/>
                <a:gd name="connsiteY1" fmla="*/ 0 h 756084"/>
                <a:gd name="connsiteX2" fmla="*/ 378042 w 1512168"/>
                <a:gd name="connsiteY2" fmla="*/ 0 h 756084"/>
                <a:gd name="connsiteX3" fmla="*/ 0 w 1512168"/>
                <a:gd name="connsiteY3" fmla="*/ 378042 h 756084"/>
                <a:gd name="connsiteX4" fmla="*/ 378042 w 1512168"/>
                <a:gd name="connsiteY4" fmla="*/ 756084 h 756084"/>
                <a:gd name="connsiteX5" fmla="*/ 756084 w 1512168"/>
                <a:gd name="connsiteY5" fmla="*/ 756084 h 756084"/>
                <a:gd name="connsiteX6" fmla="*/ 756084 w 1512168"/>
                <a:gd name="connsiteY6" fmla="*/ 756084 h 756084"/>
                <a:gd name="connsiteX7" fmla="*/ 1512168 w 1512168"/>
                <a:gd name="connsiteY7" fmla="*/ 756084 h 756084"/>
                <a:gd name="connsiteX8" fmla="*/ 1512168 w 1512168"/>
                <a:gd name="connsiteY8" fmla="*/ 0 h 756084"/>
                <a:gd name="connsiteX9" fmla="*/ 1134126 w 1512168"/>
                <a:gd name="connsiteY9" fmla="*/ 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2168" h="756084">
                  <a:moveTo>
                    <a:pt x="1134126" y="0"/>
                  </a:moveTo>
                  <a:lnTo>
                    <a:pt x="1134126" y="0"/>
                  </a:lnTo>
                  <a:lnTo>
                    <a:pt x="378042" y="0"/>
                  </a:lnTo>
                  <a:cubicBezTo>
                    <a:pt x="169287" y="0"/>
                    <a:pt x="0" y="169287"/>
                    <a:pt x="0" y="378042"/>
                  </a:cubicBezTo>
                  <a:cubicBezTo>
                    <a:pt x="0" y="586797"/>
                    <a:pt x="169287" y="756084"/>
                    <a:pt x="378042" y="756084"/>
                  </a:cubicBezTo>
                  <a:lnTo>
                    <a:pt x="756084" y="756084"/>
                  </a:lnTo>
                  <a:lnTo>
                    <a:pt x="756084" y="756084"/>
                  </a:lnTo>
                  <a:lnTo>
                    <a:pt x="1512168" y="756084"/>
                  </a:lnTo>
                  <a:lnTo>
                    <a:pt x="1512168" y="0"/>
                  </a:lnTo>
                  <a:lnTo>
                    <a:pt x="1134126" y="0"/>
                  </a:lnTo>
                  <a:close/>
                </a:path>
              </a:pathLst>
            </a:custGeom>
            <a:solidFill>
              <a:srgbClr val="201751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3169E7-0F2E-4C33-A691-6D5C2B1A4DA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755C120-EF72-4B47-B9DD-D088A9F2C1DE}" type="datetime3">
              <a:rPr lang="en-US" noProof="0" smtClean="0"/>
              <a:t>17 January 2022</a:t>
            </a:fld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68C6C73-E854-4564-8150-B96B40A31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94202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(hellgrau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DF4B65-EABB-4FE0-B71C-17F94088B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6376596"/>
            <a:ext cx="576063" cy="126555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1E2CAEB-5D4E-47C0-9BF0-585D66D109D8}"/>
              </a:ext>
            </a:extLst>
          </p:cNvPr>
          <p:cNvGrpSpPr/>
          <p:nvPr userDrawn="1"/>
        </p:nvGrpSpPr>
        <p:grpSpPr>
          <a:xfrm>
            <a:off x="10476600" y="2060848"/>
            <a:ext cx="1715400" cy="3430800"/>
            <a:chOff x="10476600" y="2060848"/>
            <a:chExt cx="1715400" cy="34308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36AA7D8-79F9-48F8-8D50-76B559AE5B2B}"/>
                </a:ext>
              </a:extLst>
            </p:cNvPr>
            <p:cNvSpPr/>
            <p:nvPr/>
          </p:nvSpPr>
          <p:spPr>
            <a:xfrm>
              <a:off x="10476600" y="3776248"/>
              <a:ext cx="857700" cy="857700"/>
            </a:xfrm>
            <a:custGeom>
              <a:avLst/>
              <a:gdLst>
                <a:gd name="connsiteX0" fmla="*/ 0 w 857700"/>
                <a:gd name="connsiteY0" fmla="*/ 0 h 857700"/>
                <a:gd name="connsiteX1" fmla="*/ 857700 w 857700"/>
                <a:gd name="connsiteY1" fmla="*/ 0 h 857700"/>
                <a:gd name="connsiteX2" fmla="*/ 857700 w 857700"/>
                <a:gd name="connsiteY2" fmla="*/ 857700 h 857700"/>
                <a:gd name="connsiteX3" fmla="*/ 0 w 857700"/>
                <a:gd name="connsiteY3" fmla="*/ 857700 h 85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700" h="857700">
                  <a:moveTo>
                    <a:pt x="0" y="0"/>
                  </a:moveTo>
                  <a:lnTo>
                    <a:pt x="857700" y="0"/>
                  </a:lnTo>
                  <a:lnTo>
                    <a:pt x="857700" y="857700"/>
                  </a:lnTo>
                  <a:lnTo>
                    <a:pt x="0" y="85770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6C21FC3-1FD1-447D-8444-AD56837E0D3B}"/>
                </a:ext>
              </a:extLst>
            </p:cNvPr>
            <p:cNvSpPr/>
            <p:nvPr/>
          </p:nvSpPr>
          <p:spPr>
            <a:xfrm>
              <a:off x="11334300" y="4633948"/>
              <a:ext cx="857700" cy="857700"/>
            </a:xfrm>
            <a:custGeom>
              <a:avLst/>
              <a:gdLst>
                <a:gd name="connsiteX0" fmla="*/ 0 w 857700"/>
                <a:gd name="connsiteY0" fmla="*/ 0 h 857700"/>
                <a:gd name="connsiteX1" fmla="*/ 857700 w 857700"/>
                <a:gd name="connsiteY1" fmla="*/ 0 h 857700"/>
                <a:gd name="connsiteX2" fmla="*/ 857700 w 857700"/>
                <a:gd name="connsiteY2" fmla="*/ 857700 h 857700"/>
                <a:gd name="connsiteX3" fmla="*/ 0 w 857700"/>
                <a:gd name="connsiteY3" fmla="*/ 857700 h 85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700" h="857700">
                  <a:moveTo>
                    <a:pt x="0" y="0"/>
                  </a:moveTo>
                  <a:lnTo>
                    <a:pt x="857700" y="0"/>
                  </a:lnTo>
                  <a:lnTo>
                    <a:pt x="857700" y="857700"/>
                  </a:lnTo>
                  <a:lnTo>
                    <a:pt x="0" y="85770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3FA56F5-25C4-42FE-8D43-E3DC69FCAA4F}"/>
                </a:ext>
              </a:extLst>
            </p:cNvPr>
            <p:cNvSpPr/>
            <p:nvPr/>
          </p:nvSpPr>
          <p:spPr>
            <a:xfrm>
              <a:off x="10476600" y="2060848"/>
              <a:ext cx="1715400" cy="1715400"/>
            </a:xfrm>
            <a:custGeom>
              <a:avLst/>
              <a:gdLst>
                <a:gd name="connsiteX0" fmla="*/ 857700 w 1715400"/>
                <a:gd name="connsiteY0" fmla="*/ 857700 h 1715400"/>
                <a:gd name="connsiteX1" fmla="*/ 1715400 w 1715400"/>
                <a:gd name="connsiteY1" fmla="*/ 1715400 h 1715400"/>
                <a:gd name="connsiteX2" fmla="*/ 857700 w 1715400"/>
                <a:gd name="connsiteY2" fmla="*/ 1715400 h 1715400"/>
                <a:gd name="connsiteX3" fmla="*/ 0 w 1715400"/>
                <a:gd name="connsiteY3" fmla="*/ 857700 h 1715400"/>
                <a:gd name="connsiteX4" fmla="*/ 0 w 1715400"/>
                <a:gd name="connsiteY4" fmla="*/ 0 h 17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5400" h="1715400">
                  <a:moveTo>
                    <a:pt x="857700" y="857700"/>
                  </a:moveTo>
                  <a:lnTo>
                    <a:pt x="1715400" y="1715400"/>
                  </a:lnTo>
                  <a:lnTo>
                    <a:pt x="857700" y="1715400"/>
                  </a:lnTo>
                  <a:lnTo>
                    <a:pt x="0" y="857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751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FBD0C543-6099-4F52-ACA4-B4C8A841E2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19CB23-D378-4548-9D52-5D434F268FA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0E23543-5D68-4551-B7C0-EBDE71FB9C1A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6F70DAE-5C8B-4EE1-910D-AE01F863E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4077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einfach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41C4611-834B-4041-91F3-915A77DC6D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4EF5AA7-A7AA-4571-AB53-31BB9B697D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200" y="6376858"/>
            <a:ext cx="576063" cy="12603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1C7DEA-28CE-412D-8B12-D1E97D2E809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BDEC0B-5070-4FB0-8A74-B4130D280D3A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422B42-5B9A-4469-9CF2-A0FF52614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27222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einfach (grün)">
    <p:bg>
      <p:bgPr>
        <a:solidFill>
          <a:srgbClr val="00C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41C4611-834B-4041-91F3-915A77DC6D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1165" y="-487273"/>
            <a:ext cx="815757" cy="162534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EDF4B65-EABB-4FE0-B71C-17F94088B9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6376596"/>
            <a:ext cx="576063" cy="12655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4738C0-2432-4731-9591-76C52F5655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8C1F022-BE67-42B4-8255-DAFA2FA97668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26A39-7D18-4E76-9378-6BD419286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61030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einfach (hellgrau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569887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DF4B65-EABB-4FE0-B71C-17F94088B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6376596"/>
            <a:ext cx="576063" cy="12655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8304B8F-32D2-4A56-BFBB-2874A304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76BF7B-94F9-4284-8960-1B3CF28A12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7E58D60-F49B-4096-8B33-AD7E0E48D1CC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D2B69-DA6B-4F90-8CDA-828B0651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4411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(Bild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BCEA0176-E50C-4AB0-9E4D-5D46E48581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75" y="0"/>
            <a:ext cx="12188825" cy="6858000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66774" y="1923421"/>
            <a:ext cx="5256213" cy="1325559"/>
          </a:xfrm>
        </p:spPr>
        <p:txBody>
          <a:bodyPr/>
          <a:lstStyle>
            <a:lvl1pPr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512168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340F58-28D3-41A4-93C0-B550F7BAFC4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88DB-117D-4D9E-AD57-C7BA0BE89790}" type="datetime3">
              <a:rPr lang="en-US" noProof="0" smtClean="0"/>
              <a:t>17 January 2022</a:t>
            </a:fld>
            <a:endParaRPr lang="en-GB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D8599A-CBD4-4BCE-90EB-575D8BF04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Onlinebild-Platzhalter 12">
            <a:extLst>
              <a:ext uri="{FF2B5EF4-FFF2-40B4-BE49-F238E27FC236}">
                <a16:creationId xmlns:a16="http://schemas.microsoft.com/office/drawing/2014/main" id="{8DE525E5-41F3-4230-B9C6-F61EE9820C0E}"/>
              </a:ext>
            </a:extLst>
          </p:cNvPr>
          <p:cNvSpPr>
            <a:spLocks noGrp="1"/>
          </p:cNvSpPr>
          <p:nvPr>
            <p:ph type="clipArt" sz="quarter" idx="14" hasCustomPrompt="1"/>
          </p:nvPr>
        </p:nvSpPr>
        <p:spPr>
          <a:xfrm>
            <a:off x="10800993" y="-487273"/>
            <a:ext cx="816332" cy="162551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noProof="0"/>
              <a:t> </a:t>
            </a:r>
          </a:p>
        </p:txBody>
      </p:sp>
      <p:sp>
        <p:nvSpPr>
          <p:cNvPr id="15" name="Onlinebild-Platzhalter 13">
            <a:extLst>
              <a:ext uri="{FF2B5EF4-FFF2-40B4-BE49-F238E27FC236}">
                <a16:creationId xmlns:a16="http://schemas.microsoft.com/office/drawing/2014/main" id="{DF4D06C3-CA03-4029-B8E9-B5341708E749}"/>
              </a:ext>
            </a:extLst>
          </p:cNvPr>
          <p:cNvSpPr>
            <a:spLocks noGrp="1"/>
          </p:cNvSpPr>
          <p:nvPr>
            <p:ph type="clipArt" sz="quarter" idx="16" hasCustomPrompt="1"/>
          </p:nvPr>
        </p:nvSpPr>
        <p:spPr>
          <a:xfrm>
            <a:off x="601200" y="6376595"/>
            <a:ext cx="576063" cy="12655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500"/>
            </a:lvl1pPr>
          </a:lstStyle>
          <a:p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1021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(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0D36231-6BF7-424C-94BD-F68C6DE3A0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7A7A7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780820-289F-4789-9D44-E16EE5CFF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836712"/>
            <a:ext cx="7272338" cy="2304951"/>
          </a:xfrm>
        </p:spPr>
        <p:txBody>
          <a:bodyPr/>
          <a:lstStyle>
            <a:lvl1pPr>
              <a:lnSpc>
                <a:spcPct val="100000"/>
              </a:lnSpc>
              <a:spcAft>
                <a:spcPts val="2000"/>
              </a:spcAft>
              <a:defRPr sz="44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“Insert Quote (max. 44 pt, min 28 pt, source level 2)”</a:t>
            </a:r>
          </a:p>
          <a:p>
            <a:pPr lvl="1"/>
            <a:r>
              <a:rPr lang="en-US" noProof="0"/>
              <a:t>Source</a:t>
            </a:r>
          </a:p>
        </p:txBody>
      </p:sp>
      <p:sp>
        <p:nvSpPr>
          <p:cNvPr id="11" name="Onlinebild-Platzhalter 13">
            <a:extLst>
              <a:ext uri="{FF2B5EF4-FFF2-40B4-BE49-F238E27FC236}">
                <a16:creationId xmlns:a16="http://schemas.microsoft.com/office/drawing/2014/main" id="{C7B4EDC6-DFF3-4F74-A1BC-8ECEEEE65C05}"/>
              </a:ext>
            </a:extLst>
          </p:cNvPr>
          <p:cNvSpPr>
            <a:spLocks noGrp="1"/>
          </p:cNvSpPr>
          <p:nvPr>
            <p:ph type="clipArt" sz="quarter" idx="16" hasCustomPrompt="1"/>
          </p:nvPr>
        </p:nvSpPr>
        <p:spPr>
          <a:xfrm>
            <a:off x="601200" y="6376595"/>
            <a:ext cx="576063" cy="12655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500"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172601-F2D8-4756-9014-EE2AA98B1EF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4D7822-092B-423E-B626-F14BA52D0737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5843BC-3D7B-43A3-B54D-54DC4DCCD7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8654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(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780820-289F-4789-9D44-E16EE5CFF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981075"/>
            <a:ext cx="7272338" cy="2160588"/>
          </a:xfrm>
        </p:spPr>
        <p:txBody>
          <a:bodyPr/>
          <a:lstStyle>
            <a:lvl1pPr>
              <a:defRPr sz="4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“Insert Quote (max. 44 </a:t>
            </a:r>
            <a:r>
              <a:rPr lang="en-US" noProof="0" dirty="0" err="1"/>
              <a:t>pt</a:t>
            </a:r>
            <a:r>
              <a:rPr lang="en-US" noProof="0" dirty="0"/>
              <a:t>, min 28 </a:t>
            </a:r>
            <a:r>
              <a:rPr lang="en-US" noProof="0" dirty="0" err="1"/>
              <a:t>pt</a:t>
            </a:r>
            <a:r>
              <a:rPr lang="en-US" noProof="0" dirty="0"/>
              <a:t>)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BFA5-F1DE-439D-8292-1985FFB11EC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6568F23-EE56-4FE6-BCFC-833502C46027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01AB10-363B-4F98-9D35-518F02749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1179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Insert Slide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2FDBA4-6CA2-4F8A-9360-55639C5C5F6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87376" y="1700213"/>
            <a:ext cx="11017250" cy="4429125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3FF9AC7-EBBE-4495-9469-91BA126FC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0D247-8106-49ED-BD76-3CEF61A41586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BC12CC-1E69-4455-A765-9ECE97FA3A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37786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284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</a:lstStyle>
          <a:p>
            <a:fld id="{881B7BF1-5422-461D-9E1F-E1927046B8AB}" type="datetime3">
              <a:rPr lang="en-US" noProof="0" smtClean="0"/>
              <a:t>17 January 2022</a:t>
            </a:fld>
            <a:endParaRPr lang="en-US" noProof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6956DC9-6DE9-4396-89B0-F5352960F2C8}"/>
              </a:ext>
            </a:extLst>
          </p:cNvPr>
          <p:cNvGrpSpPr>
            <a:grpSpLocks noChangeAspect="1"/>
          </p:cNvGrpSpPr>
          <p:nvPr userDrawn="1"/>
        </p:nvGrpSpPr>
        <p:grpSpPr>
          <a:xfrm flipV="1">
            <a:off x="8799025" y="2737959"/>
            <a:ext cx="3392975" cy="4120041"/>
            <a:chOff x="5807968" y="2191091"/>
            <a:chExt cx="2667000" cy="32385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7A29E38-C4B8-431B-9150-1E48EFD043DC}"/>
                </a:ext>
              </a:extLst>
            </p:cNvPr>
            <p:cNvSpPr/>
            <p:nvPr/>
          </p:nvSpPr>
          <p:spPr>
            <a:xfrm>
              <a:off x="6760468" y="2572091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93DB171A-DE9B-42E3-8B9B-F2C31B64BB3B}"/>
                </a:ext>
              </a:extLst>
            </p:cNvPr>
            <p:cNvSpPr/>
            <p:nvPr/>
          </p:nvSpPr>
          <p:spPr>
            <a:xfrm>
              <a:off x="5807968" y="2191091"/>
              <a:ext cx="952500" cy="381000"/>
            </a:xfrm>
            <a:custGeom>
              <a:avLst/>
              <a:gdLst>
                <a:gd name="connsiteX0" fmla="*/ 0 w 952500"/>
                <a:gd name="connsiteY0" fmla="*/ 0 h 381000"/>
                <a:gd name="connsiteX1" fmla="*/ 952500 w 952500"/>
                <a:gd name="connsiteY1" fmla="*/ 0 h 381000"/>
                <a:gd name="connsiteX2" fmla="*/ 952500 w 952500"/>
                <a:gd name="connsiteY2" fmla="*/ 381000 h 381000"/>
                <a:gd name="connsiteX3" fmla="*/ 0 w 952500"/>
                <a:gd name="connsiteY3" fmla="*/ 38100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381000">
                  <a:moveTo>
                    <a:pt x="0" y="0"/>
                  </a:moveTo>
                  <a:lnTo>
                    <a:pt x="952500" y="0"/>
                  </a:lnTo>
                  <a:lnTo>
                    <a:pt x="952500" y="381000"/>
                  </a:lnTo>
                  <a:lnTo>
                    <a:pt x="0" y="3810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E7C7148-B187-412B-BE3E-00C968F6C1F5}"/>
                </a:ext>
              </a:extLst>
            </p:cNvPr>
            <p:cNvSpPr/>
            <p:nvPr/>
          </p:nvSpPr>
          <p:spPr>
            <a:xfrm>
              <a:off x="5807968" y="3524591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952500 w 952500"/>
                <a:gd name="connsiteY1" fmla="*/ 0 h 1905000"/>
                <a:gd name="connsiteX2" fmla="*/ 952500 w 952500"/>
                <a:gd name="connsiteY2" fmla="*/ 1905000 h 1905000"/>
                <a:gd name="connsiteX3" fmla="*/ 0 w 952500"/>
                <a:gd name="connsiteY3" fmla="*/ 19050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952500" y="0"/>
                  </a:lnTo>
                  <a:lnTo>
                    <a:pt x="952500" y="1905000"/>
                  </a:lnTo>
                  <a:lnTo>
                    <a:pt x="0" y="1905000"/>
                  </a:ln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8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E9CB61C-B448-43DF-B262-10BB8930606D}"/>
                </a:ext>
              </a:extLst>
            </p:cNvPr>
            <p:cNvSpPr/>
            <p:nvPr/>
          </p:nvSpPr>
          <p:spPr>
            <a:xfrm>
              <a:off x="7712968" y="2191091"/>
              <a:ext cx="762000" cy="1333500"/>
            </a:xfrm>
            <a:custGeom>
              <a:avLst/>
              <a:gdLst>
                <a:gd name="connsiteX0" fmla="*/ 762000 w 762000"/>
                <a:gd name="connsiteY0" fmla="*/ 0 h 1333500"/>
                <a:gd name="connsiteX1" fmla="*/ 0 w 762000"/>
                <a:gd name="connsiteY1" fmla="*/ 0 h 1333500"/>
                <a:gd name="connsiteX2" fmla="*/ 0 w 762000"/>
                <a:gd name="connsiteY2" fmla="*/ 1333500 h 1333500"/>
                <a:gd name="connsiteX3" fmla="*/ 762000 w 762000"/>
                <a:gd name="connsiteY3" fmla="*/ 952595 h 1333500"/>
                <a:gd name="connsiteX4" fmla="*/ 762000 w 762000"/>
                <a:gd name="connsiteY4" fmla="*/ 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0" h="1333500">
                  <a:moveTo>
                    <a:pt x="762000" y="0"/>
                  </a:moveTo>
                  <a:lnTo>
                    <a:pt x="0" y="0"/>
                  </a:lnTo>
                  <a:lnTo>
                    <a:pt x="0" y="1333500"/>
                  </a:lnTo>
                  <a:cubicBezTo>
                    <a:pt x="311563" y="1333500"/>
                    <a:pt x="588264" y="1183862"/>
                    <a:pt x="762000" y="952595"/>
                  </a:cubicBezTo>
                  <a:lnTo>
                    <a:pt x="7620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A55E9B2-921C-4329-B985-554A9C3767F2}"/>
                </a:ext>
              </a:extLst>
            </p:cNvPr>
            <p:cNvSpPr/>
            <p:nvPr/>
          </p:nvSpPr>
          <p:spPr>
            <a:xfrm>
              <a:off x="7712968" y="4667591"/>
              <a:ext cx="762000" cy="762000"/>
            </a:xfrm>
            <a:custGeom>
              <a:avLst/>
              <a:gdLst>
                <a:gd name="connsiteX0" fmla="*/ 0 w 762000"/>
                <a:gd name="connsiteY0" fmla="*/ 762000 h 762000"/>
                <a:gd name="connsiteX1" fmla="*/ 762000 w 762000"/>
                <a:gd name="connsiteY1" fmla="*/ 762000 h 762000"/>
                <a:gd name="connsiteX2" fmla="*/ 762000 w 762000"/>
                <a:gd name="connsiteY2" fmla="*/ 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0" h="762000">
                  <a:moveTo>
                    <a:pt x="0" y="762000"/>
                  </a:moveTo>
                  <a:lnTo>
                    <a:pt x="762000" y="762000"/>
                  </a:lnTo>
                  <a:lnTo>
                    <a:pt x="7620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F7D47231-D549-4315-B04C-12DC4848D802}"/>
                </a:ext>
              </a:extLst>
            </p:cNvPr>
            <p:cNvSpPr/>
            <p:nvPr/>
          </p:nvSpPr>
          <p:spPr>
            <a:xfrm>
              <a:off x="6760468" y="3524591"/>
              <a:ext cx="1714500" cy="1905000"/>
            </a:xfrm>
            <a:custGeom>
              <a:avLst/>
              <a:gdLst>
                <a:gd name="connsiteX0" fmla="*/ 1714500 w 1714500"/>
                <a:gd name="connsiteY0" fmla="*/ 0 h 1905000"/>
                <a:gd name="connsiteX1" fmla="*/ 952500 w 1714500"/>
                <a:gd name="connsiteY1" fmla="*/ 0 h 1905000"/>
                <a:gd name="connsiteX2" fmla="*/ 0 w 1714500"/>
                <a:gd name="connsiteY2" fmla="*/ 952500 h 1905000"/>
                <a:gd name="connsiteX3" fmla="*/ 0 w 1714500"/>
                <a:gd name="connsiteY3" fmla="*/ 1905000 h 1905000"/>
                <a:gd name="connsiteX4" fmla="*/ 1714500 w 1714500"/>
                <a:gd name="connsiteY4" fmla="*/ 190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0" h="1905000">
                  <a:moveTo>
                    <a:pt x="1714500" y="0"/>
                  </a:moveTo>
                  <a:lnTo>
                    <a:pt x="952500" y="0"/>
                  </a:lnTo>
                  <a:lnTo>
                    <a:pt x="0" y="952500"/>
                  </a:lnTo>
                  <a:lnTo>
                    <a:pt x="0" y="1905000"/>
                  </a:lnTo>
                  <a:lnTo>
                    <a:pt x="1714500" y="190500"/>
                  </a:ln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80000">
                  <a:srgbClr val="00CE7D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5482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498EFB6-F28B-4075-959C-D80C299D8C5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87375" y="1700213"/>
            <a:ext cx="5400675" cy="4429125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ED1B5D5A-F9B8-4256-8DD8-396956155A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950" y="1700213"/>
            <a:ext cx="5400675" cy="4429125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1A8501-2127-4A03-A204-7BE8128464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98C31B-793D-40F5-B015-C41BAF7E185F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294DA3-4BD3-4274-9371-47EB990F8D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99556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69D571FC-BA96-4CAF-A727-A635D457602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87375" y="1700213"/>
            <a:ext cx="3529013" cy="4429125"/>
          </a:xfrm>
        </p:spPr>
        <p:txBody>
          <a:bodyPr/>
          <a:lstStyle>
            <a:lvl1pPr>
              <a:defRPr sz="1600"/>
            </a:lvl1pPr>
            <a:lvl2pPr marL="180000" indent="-1800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05B939F-D767-408F-A43E-2B6FD79A4DD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32288" y="1700213"/>
            <a:ext cx="3529013" cy="4429125"/>
          </a:xfrm>
        </p:spPr>
        <p:txBody>
          <a:bodyPr/>
          <a:lstStyle>
            <a:lvl1pPr>
              <a:defRPr sz="1600"/>
            </a:lvl1pPr>
            <a:lvl2pPr marL="180000" indent="-1800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BA6ACEF6-A2C9-4708-BF76-02325C9F1C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75613" y="1700213"/>
            <a:ext cx="3529013" cy="4429125"/>
          </a:xfrm>
        </p:spPr>
        <p:txBody>
          <a:bodyPr/>
          <a:lstStyle>
            <a:lvl1pPr>
              <a:defRPr sz="1600"/>
            </a:lvl1pPr>
            <a:lvl2pPr marL="180000" indent="-1800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5D0483-414C-4F51-843F-44544332E38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DBEE8C2-E27A-443E-BFF3-9C8509FC91AE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929E3-53FE-4AD5-9603-46F552CACE1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5372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6" y="368301"/>
            <a:ext cx="5400674" cy="466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2FDBA4-6CA2-4F8A-9360-55639C5C5F6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87377" y="1700213"/>
            <a:ext cx="5400673" cy="4429125"/>
          </a:xfrm>
        </p:spPr>
        <p:txBody>
          <a:bodyPr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0D65DE6-22B8-49FA-AE8B-AB79B85317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03950" y="0"/>
            <a:ext cx="5988050" cy="6129339"/>
          </a:xfrm>
          <a:prstGeom prst="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672B7DE-4CE2-48D8-9E83-B1655F427CE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5928E4-03DA-4799-AB48-C0ABBB1FF87E}" type="datetime3">
              <a:rPr lang="en-US" smtClean="0"/>
              <a:t>17 January 2022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6D15E-D4F6-4294-A987-444ED498956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00667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1B5917-CBB4-4162-8067-EF80AC06B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480C6-9A9A-4F38-8409-97AB8F835432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3E2A66-7F5E-4326-9BBB-FB60EEAEA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4192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540A6E-44B3-452A-8635-81299E742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136201-5B7C-46B0-8408-1F09E7937261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49F892-46C7-44B5-8A70-4419895B07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35642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e (große Bil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29C4A31-57DD-4A63-A985-356DA24CCE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27688" cy="6129338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1D6410BD-4A55-4357-845E-282A5C95EF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27688" y="0"/>
            <a:ext cx="5976937" cy="6129338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D4666-616B-4A5C-8DA3-25B2D5366E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484313"/>
            <a:ext cx="2664000" cy="216058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tabLst>
                <a:tab pos="449263" algn="l"/>
              </a:tabLst>
              <a:defRPr sz="1400" b="1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5D08A6FF-66CD-491D-8B19-37E7A221F4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0" y="1484313"/>
            <a:ext cx="2664000" cy="216058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tabLst>
                <a:tab pos="449263" algn="l"/>
              </a:tabLst>
              <a:defRPr sz="1400" b="1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268E5-76E9-487E-9024-A97441E2BB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7E4B7FF-8808-4FD1-B803-CBFE340D2399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A4B27C-A892-4022-8BEF-3D68BA6C44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038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49">
          <p15:clr>
            <a:srgbClr val="FBAE40"/>
          </p15:clr>
        </p15:guide>
        <p15:guide id="2" pos="3545" userDrawn="1">
          <p15:clr>
            <a:srgbClr val="FBAE40"/>
          </p15:clr>
        </p15:guide>
        <p15:guide id="3" pos="5360">
          <p15:clr>
            <a:srgbClr val="FBAE40"/>
          </p15:clr>
        </p15:guide>
        <p15:guide id="5" orient="horz" pos="229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e (kleine Bil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D4666-616B-4A5C-8DA3-25B2D5366E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2424" y="1484313"/>
            <a:ext cx="2664000" cy="216058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/>
            </a:lvl1pPr>
            <a:lvl2pPr marL="0" indent="0">
              <a:spcAft>
                <a:spcPts val="0"/>
              </a:spcAft>
              <a:buNone/>
              <a:tabLst>
                <a:tab pos="449263" algn="l"/>
              </a:tabLst>
              <a:defRPr sz="1400" b="1"/>
            </a:lvl2pPr>
            <a:lvl3pPr marL="0" indent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29C4A31-57DD-4A63-A985-356DA24CCE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7374" y="1484313"/>
            <a:ext cx="1872221" cy="2160587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A95A97E-1E87-4F79-A043-06CBF137AAB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716180" y="4437112"/>
            <a:ext cx="2420888" cy="2420888"/>
            <a:chOff x="7378960" y="4000500"/>
            <a:chExt cx="2857500" cy="2857500"/>
          </a:xfrm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EB79B26-1FBB-479D-8E44-92841E4D7A6D}"/>
                </a:ext>
              </a:extLst>
            </p:cNvPr>
            <p:cNvSpPr/>
            <p:nvPr/>
          </p:nvSpPr>
          <p:spPr>
            <a:xfrm>
              <a:off x="9283960" y="5905500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90B509A-F979-4F50-9148-2866300B9974}"/>
                </a:ext>
              </a:extLst>
            </p:cNvPr>
            <p:cNvSpPr/>
            <p:nvPr/>
          </p:nvSpPr>
          <p:spPr>
            <a:xfrm>
              <a:off x="7378960" y="4953000"/>
              <a:ext cx="1905000" cy="1905000"/>
            </a:xfrm>
            <a:custGeom>
              <a:avLst/>
              <a:gdLst>
                <a:gd name="connsiteX0" fmla="*/ 952500 w 1905000"/>
                <a:gd name="connsiteY0" fmla="*/ 95250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  <a:gd name="connsiteX4" fmla="*/ 1905000 w 1905000"/>
                <a:gd name="connsiteY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0" h="1905000">
                  <a:moveTo>
                    <a:pt x="952500" y="95250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lnTo>
                    <a:pt x="1905000" y="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1039803-5438-4B81-BE01-7A4EED98821A}"/>
                </a:ext>
              </a:extLst>
            </p:cNvPr>
            <p:cNvSpPr/>
            <p:nvPr/>
          </p:nvSpPr>
          <p:spPr>
            <a:xfrm>
              <a:off x="8331460" y="4000500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1905000 h 1905000"/>
                <a:gd name="connsiteX2" fmla="*/ 952500 w 952500"/>
                <a:gd name="connsiteY2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1905000"/>
                  </a:lnTo>
                  <a:lnTo>
                    <a:pt x="95250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5D08A6FF-66CD-491D-8B19-37E7A221F4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10028" y="1484313"/>
            <a:ext cx="2664000" cy="216058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/>
            </a:lvl1pPr>
            <a:lvl2pPr marL="0" indent="0">
              <a:spcAft>
                <a:spcPts val="0"/>
              </a:spcAft>
              <a:buNone/>
              <a:tabLst>
                <a:tab pos="449263" algn="l"/>
              </a:tabLst>
              <a:defRPr sz="1400" b="1"/>
            </a:lvl2pPr>
            <a:lvl3pPr marL="0" indent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1D6410BD-4A55-4357-845E-282A5C95EF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04978" y="1484313"/>
            <a:ext cx="1872221" cy="2160587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D2422E-C4CD-4A3A-B69D-25D6B4463A3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AE729CA-5E3E-492A-9757-010E41590E98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0EBEF7-6725-4947-A407-42CDE302FD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6424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49" userDrawn="1">
          <p15:clr>
            <a:srgbClr val="FBAE40"/>
          </p15:clr>
        </p15:guide>
        <p15:guide id="2" pos="1822" userDrawn="1">
          <p15:clr>
            <a:srgbClr val="FBAE40"/>
          </p15:clr>
        </p15:guide>
        <p15:guide id="3" pos="5360" userDrawn="1">
          <p15:clr>
            <a:srgbClr val="FBAE40"/>
          </p15:clr>
        </p15:guide>
        <p15:guide id="5" orient="horz" pos="229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chlussfolie 1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41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Insert Contact Data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B7CD771-7FC5-43BF-BFEA-E91B045375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93836" y="2059632"/>
            <a:ext cx="5398164" cy="4798368"/>
            <a:chOff x="1631504" y="1916832"/>
            <a:chExt cx="4286250" cy="3810000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B87BE1D-5BCC-4B2D-A157-B5B82572D2D4}"/>
                </a:ext>
              </a:extLst>
            </p:cNvPr>
            <p:cNvSpPr/>
            <p:nvPr/>
          </p:nvSpPr>
          <p:spPr>
            <a:xfrm>
              <a:off x="3536504" y="2393082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114E78E-1106-48E6-A1F0-2DFA201B8635}"/>
                </a:ext>
              </a:extLst>
            </p:cNvPr>
            <p:cNvSpPr/>
            <p:nvPr/>
          </p:nvSpPr>
          <p:spPr>
            <a:xfrm>
              <a:off x="1631504" y="2869332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316EA6-55AF-40C5-AC64-E996B2E4C425}"/>
                </a:ext>
              </a:extLst>
            </p:cNvPr>
            <p:cNvSpPr/>
            <p:nvPr/>
          </p:nvSpPr>
          <p:spPr>
            <a:xfrm>
              <a:off x="1631504" y="4298082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1A4E63AB-059C-4C37-96CB-B9EB5192C533}"/>
                </a:ext>
              </a:extLst>
            </p:cNvPr>
            <p:cNvSpPr/>
            <p:nvPr/>
          </p:nvSpPr>
          <p:spPr>
            <a:xfrm>
              <a:off x="2584004" y="1916832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F69AC47-7EBD-4D7A-9F50-9933AE315AED}"/>
                </a:ext>
              </a:extLst>
            </p:cNvPr>
            <p:cNvSpPr/>
            <p:nvPr/>
          </p:nvSpPr>
          <p:spPr>
            <a:xfrm>
              <a:off x="4012754" y="3821832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 userDrawn="1"/>
        </p:nvSpPr>
        <p:spPr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00" b="1" noProof="0">
                <a:solidFill>
                  <a:schemeClr val="bg1"/>
                </a:solidFill>
                <a:cs typeface="Arial"/>
              </a:rPr>
              <a:t>eurex.com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908C5A1-8AEE-45B3-A12E-0DF0CFA757E0}"/>
              </a:ext>
            </a:extLst>
          </p:cNvPr>
          <p:cNvGrpSpPr/>
          <p:nvPr userDrawn="1"/>
        </p:nvGrpSpPr>
        <p:grpSpPr>
          <a:xfrm>
            <a:off x="579960" y="6286127"/>
            <a:ext cx="893303" cy="292571"/>
            <a:chOff x="2553599" y="5821406"/>
            <a:chExt cx="1319408" cy="432127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3B475B9-4DAA-48B0-986A-7C1D27A9C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23753" y="5872533"/>
              <a:ext cx="381000" cy="3810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3527209-1CE9-45C8-B64A-C97F252A7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599" y="5821406"/>
              <a:ext cx="381000" cy="38100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B01DB67E-B8A2-4332-BEB0-3A023616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83366" y="5826891"/>
              <a:ext cx="389641" cy="3896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7534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chlussfolie 1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91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Insert Contact Dat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 userDrawn="1"/>
        </p:nvSpPr>
        <p:spPr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00" b="1" noProof="0">
                <a:solidFill>
                  <a:schemeClr val="tx1"/>
                </a:solidFill>
                <a:cs typeface="Arial"/>
              </a:rPr>
              <a:t>eurex.com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E8658D4-18AC-47E1-BB05-BD6E4F6848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95737" y="2061321"/>
            <a:ext cx="5396263" cy="4796679"/>
            <a:chOff x="1523492" y="1772816"/>
            <a:chExt cx="4286250" cy="3810000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80A6452-C4C0-4689-9D82-D012C6062047}"/>
                </a:ext>
              </a:extLst>
            </p:cNvPr>
            <p:cNvSpPr/>
            <p:nvPr/>
          </p:nvSpPr>
          <p:spPr>
            <a:xfrm>
              <a:off x="3428492" y="2249066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C6B87D13-2E44-488B-8720-15BDDC34C439}"/>
                </a:ext>
              </a:extLst>
            </p:cNvPr>
            <p:cNvSpPr/>
            <p:nvPr/>
          </p:nvSpPr>
          <p:spPr>
            <a:xfrm>
              <a:off x="1523492" y="2725316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10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E2F3DBB-D667-4CFF-A200-6DE864AE4012}"/>
                </a:ext>
              </a:extLst>
            </p:cNvPr>
            <p:cNvSpPr/>
            <p:nvPr/>
          </p:nvSpPr>
          <p:spPr>
            <a:xfrm>
              <a:off x="1523492" y="4154066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59F40D-BFD8-4484-B9DB-E0B4B94CBD66}"/>
                </a:ext>
              </a:extLst>
            </p:cNvPr>
            <p:cNvSpPr/>
            <p:nvPr/>
          </p:nvSpPr>
          <p:spPr>
            <a:xfrm>
              <a:off x="2475992" y="1772816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40000">
                  <a:srgbClr val="00CE7D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9386CE8-8182-4603-A8F8-3E0FDA3C35AF}"/>
                </a:ext>
              </a:extLst>
            </p:cNvPr>
            <p:cNvSpPr/>
            <p:nvPr/>
          </p:nvSpPr>
          <p:spPr>
            <a:xfrm>
              <a:off x="3904742" y="3677816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60000">
                  <a:srgbClr val="201751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1B4BDD7B-50B5-45C0-BC46-F37AF837D17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E1A2CB0-6D74-448A-80A4-4DC1F573C4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6C8C546-39C1-4CD3-B645-B9538B73CCFC}"/>
              </a:ext>
            </a:extLst>
          </p:cNvPr>
          <p:cNvGrpSpPr/>
          <p:nvPr userDrawn="1"/>
        </p:nvGrpSpPr>
        <p:grpSpPr>
          <a:xfrm>
            <a:off x="579960" y="6286132"/>
            <a:ext cx="893303" cy="292570"/>
            <a:chOff x="2553599" y="5821406"/>
            <a:chExt cx="1319408" cy="432125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DDA673D-2640-4A92-A0DE-A0590EF39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23753" y="5872532"/>
              <a:ext cx="380999" cy="380999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C7C24929-B316-4465-BCDD-3C0FD35B7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53599" y="5821406"/>
              <a:ext cx="380999" cy="380999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468E6E72-9D75-4733-8EB5-260EA76DF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83366" y="5826892"/>
              <a:ext cx="389641" cy="3896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264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chlussfolie 2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65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Insert Contact Data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973" y="476936"/>
            <a:ext cx="3630623" cy="32987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 userDrawn="1"/>
        </p:nvSpPr>
        <p:spPr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00" b="1" noProof="0">
                <a:solidFill>
                  <a:schemeClr val="bg1"/>
                </a:solidFill>
                <a:cs typeface="Arial"/>
              </a:rPr>
              <a:t>eurex.com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908C5A1-8AEE-45B3-A12E-0DF0CFA757E0}"/>
              </a:ext>
            </a:extLst>
          </p:cNvPr>
          <p:cNvGrpSpPr/>
          <p:nvPr userDrawn="1"/>
        </p:nvGrpSpPr>
        <p:grpSpPr>
          <a:xfrm>
            <a:off x="579960" y="6286127"/>
            <a:ext cx="893303" cy="292571"/>
            <a:chOff x="2553599" y="5821406"/>
            <a:chExt cx="1319408" cy="432127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3B475B9-4DAA-48B0-986A-7C1D27A9C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23753" y="5872533"/>
              <a:ext cx="381000" cy="3810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3527209-1CE9-45C8-B64A-C97F252A7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599" y="5821406"/>
              <a:ext cx="381000" cy="38100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B01DB67E-B8A2-4332-BEB0-3A023616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83366" y="5826891"/>
              <a:ext cx="389641" cy="389641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769E7C5-C0E1-48CD-9388-6F2008D5527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34500" y="3238500"/>
            <a:ext cx="2857500" cy="3619500"/>
            <a:chOff x="3611724" y="1974857"/>
            <a:chExt cx="2857500" cy="3619500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7304EB86-5EEA-438D-B39C-697E03DEBDAC}"/>
                </a:ext>
              </a:extLst>
            </p:cNvPr>
            <p:cNvSpPr/>
            <p:nvPr/>
          </p:nvSpPr>
          <p:spPr>
            <a:xfrm>
              <a:off x="3611724" y="3879857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8F723E8-3D83-4C80-8A6C-D974206A31D6}"/>
                </a:ext>
              </a:extLst>
            </p:cNvPr>
            <p:cNvSpPr/>
            <p:nvPr/>
          </p:nvSpPr>
          <p:spPr>
            <a:xfrm>
              <a:off x="4564224" y="3879857"/>
              <a:ext cx="952500" cy="1714500"/>
            </a:xfrm>
            <a:custGeom>
              <a:avLst/>
              <a:gdLst>
                <a:gd name="connsiteX0" fmla="*/ 95 w 952500"/>
                <a:gd name="connsiteY0" fmla="*/ 952405 h 1714500"/>
                <a:gd name="connsiteX1" fmla="*/ 0 w 952500"/>
                <a:gd name="connsiteY1" fmla="*/ 952405 h 1714500"/>
                <a:gd name="connsiteX2" fmla="*/ 0 w 952500"/>
                <a:gd name="connsiteY2" fmla="*/ 1714500 h 1714500"/>
                <a:gd name="connsiteX3" fmla="*/ 952500 w 952500"/>
                <a:gd name="connsiteY3" fmla="*/ 1714500 h 1714500"/>
                <a:gd name="connsiteX4" fmla="*/ 952500 w 952500"/>
                <a:gd name="connsiteY4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1714500">
                  <a:moveTo>
                    <a:pt x="95" y="952405"/>
                  </a:moveTo>
                  <a:lnTo>
                    <a:pt x="0" y="952405"/>
                  </a:lnTo>
                  <a:lnTo>
                    <a:pt x="0" y="1714500"/>
                  </a:lnTo>
                  <a:lnTo>
                    <a:pt x="952500" y="1714500"/>
                  </a:lnTo>
                  <a:lnTo>
                    <a:pt x="9525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1F888C89-D455-4F08-8365-D54C352BAABE}"/>
                </a:ext>
              </a:extLst>
            </p:cNvPr>
            <p:cNvSpPr/>
            <p:nvPr/>
          </p:nvSpPr>
          <p:spPr>
            <a:xfrm>
              <a:off x="5516724" y="2927357"/>
              <a:ext cx="952500" cy="2667000"/>
            </a:xfrm>
            <a:custGeom>
              <a:avLst/>
              <a:gdLst>
                <a:gd name="connsiteX0" fmla="*/ 95 w 952500"/>
                <a:gd name="connsiteY0" fmla="*/ 952405 h 2667000"/>
                <a:gd name="connsiteX1" fmla="*/ 0 w 952500"/>
                <a:gd name="connsiteY1" fmla="*/ 952405 h 2667000"/>
                <a:gd name="connsiteX2" fmla="*/ 0 w 952500"/>
                <a:gd name="connsiteY2" fmla="*/ 2667000 h 2667000"/>
                <a:gd name="connsiteX3" fmla="*/ 952500 w 952500"/>
                <a:gd name="connsiteY3" fmla="*/ 2667000 h 2667000"/>
                <a:gd name="connsiteX4" fmla="*/ 952500 w 952500"/>
                <a:gd name="connsiteY4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2667000">
                  <a:moveTo>
                    <a:pt x="95" y="952405"/>
                  </a:moveTo>
                  <a:lnTo>
                    <a:pt x="0" y="952405"/>
                  </a:lnTo>
                  <a:lnTo>
                    <a:pt x="0" y="2667000"/>
                  </a:lnTo>
                  <a:lnTo>
                    <a:pt x="952500" y="2667000"/>
                  </a:lnTo>
                  <a:lnTo>
                    <a:pt x="952500" y="0"/>
                  </a:lnTo>
                  <a:close/>
                </a:path>
              </a:pathLst>
            </a:custGeom>
            <a:gradFill>
              <a:gsLst>
                <a:gs pos="50000">
                  <a:srgbClr val="00CE7D"/>
                </a:gs>
                <a:gs pos="9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460A32E-0B9F-44B5-B953-61598373A976}"/>
                </a:ext>
              </a:extLst>
            </p:cNvPr>
            <p:cNvSpPr/>
            <p:nvPr/>
          </p:nvSpPr>
          <p:spPr>
            <a:xfrm>
              <a:off x="3611724" y="1974857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952500 h 1905000"/>
                <a:gd name="connsiteX2" fmla="*/ 0 w 952500"/>
                <a:gd name="connsiteY2" fmla="*/ 1905000 h 1905000"/>
                <a:gd name="connsiteX3" fmla="*/ 952500 w 952500"/>
                <a:gd name="connsiteY3" fmla="*/ 1905000 h 1905000"/>
                <a:gd name="connsiteX4" fmla="*/ 952500 w 952500"/>
                <a:gd name="connsiteY4" fmla="*/ 952500 h 1905000"/>
                <a:gd name="connsiteX5" fmla="*/ 0 w 952500"/>
                <a:gd name="connsiteY5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952500"/>
                  </a:lnTo>
                  <a:lnTo>
                    <a:pt x="0" y="1905000"/>
                  </a:lnTo>
                  <a:lnTo>
                    <a:pt x="952500" y="1905000"/>
                  </a:lnTo>
                  <a:lnTo>
                    <a:pt x="952500" y="952500"/>
                  </a:lnTo>
                  <a:cubicBezTo>
                    <a:pt x="952500" y="426434"/>
                    <a:pt x="526066" y="0"/>
                    <a:pt x="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8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18330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541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rgbClr val="20175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rgbClr val="20175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01751"/>
                </a:solidFill>
              </a:defRPr>
            </a:lvl1pPr>
          </a:lstStyle>
          <a:p>
            <a:fld id="{E5DF8067-24E8-4D4E-B690-FECCB8D1E844}" type="datetime3">
              <a:rPr lang="en-US" smtClean="0"/>
              <a:pPr/>
              <a:t>17 January 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D760FE9-CA9E-4E13-B24D-08CAE7262CB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95737" y="2061321"/>
            <a:ext cx="5396263" cy="4796679"/>
            <a:chOff x="1523492" y="1772816"/>
            <a:chExt cx="4286250" cy="38100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927FB20-9879-4BBD-AEEC-9C317AC8C1B1}"/>
                </a:ext>
              </a:extLst>
            </p:cNvPr>
            <p:cNvSpPr/>
            <p:nvPr/>
          </p:nvSpPr>
          <p:spPr>
            <a:xfrm>
              <a:off x="3428492" y="2249066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0659511-CA53-45C8-A6C9-80C8B0AB2970}"/>
                </a:ext>
              </a:extLst>
            </p:cNvPr>
            <p:cNvSpPr/>
            <p:nvPr/>
          </p:nvSpPr>
          <p:spPr>
            <a:xfrm>
              <a:off x="1523492" y="2725316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10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BF39AA4-A4D1-486C-91DA-3EBF982CA638}"/>
                </a:ext>
              </a:extLst>
            </p:cNvPr>
            <p:cNvSpPr/>
            <p:nvPr/>
          </p:nvSpPr>
          <p:spPr>
            <a:xfrm>
              <a:off x="1523492" y="4154066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56FCA6CD-1C5D-476F-939F-87503A7AF6AF}"/>
                </a:ext>
              </a:extLst>
            </p:cNvPr>
            <p:cNvSpPr/>
            <p:nvPr/>
          </p:nvSpPr>
          <p:spPr>
            <a:xfrm>
              <a:off x="2475992" y="1772816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40000">
                  <a:srgbClr val="00CE7D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4DAFE5C-9E41-4B97-9A80-8FCE93DDDF38}"/>
                </a:ext>
              </a:extLst>
            </p:cNvPr>
            <p:cNvSpPr/>
            <p:nvPr/>
          </p:nvSpPr>
          <p:spPr>
            <a:xfrm>
              <a:off x="3904742" y="3677816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60000">
                  <a:srgbClr val="201751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597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chlussfolie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40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Insert Contact Dat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 userDrawn="1"/>
        </p:nvSpPr>
        <p:spPr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00" b="1" noProof="0">
                <a:solidFill>
                  <a:schemeClr val="tx1"/>
                </a:solidFill>
                <a:cs typeface="Arial"/>
              </a:rPr>
              <a:t>eurex.com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1B4BDD7B-50B5-45C0-BC46-F37AF837D17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E1A2CB0-6D74-448A-80A4-4DC1F573C4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6C8C546-39C1-4CD3-B645-B9538B73CCFC}"/>
              </a:ext>
            </a:extLst>
          </p:cNvPr>
          <p:cNvGrpSpPr/>
          <p:nvPr userDrawn="1"/>
        </p:nvGrpSpPr>
        <p:grpSpPr>
          <a:xfrm>
            <a:off x="579960" y="6286132"/>
            <a:ext cx="893303" cy="292570"/>
            <a:chOff x="2553599" y="5821406"/>
            <a:chExt cx="1319408" cy="432125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DDA673D-2640-4A92-A0DE-A0590EF39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23753" y="5872532"/>
              <a:ext cx="380999" cy="380999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C7C24929-B316-4465-BCDD-3C0FD35B7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53599" y="5821406"/>
              <a:ext cx="380999" cy="380999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468E6E72-9D75-4733-8EB5-260EA76DF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83366" y="5826892"/>
              <a:ext cx="389641" cy="389641"/>
            </a:xfrm>
            <a:prstGeom prst="rect">
              <a:avLst/>
            </a:prstGeom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CE47B92-4F39-4CC3-8CC2-49976D987D8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34500" y="3238500"/>
            <a:ext cx="2857500" cy="3619500"/>
            <a:chOff x="2963652" y="2024844"/>
            <a:chExt cx="2857500" cy="3619500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324804C-B612-4BA6-B5ED-AB45197D167A}"/>
                </a:ext>
              </a:extLst>
            </p:cNvPr>
            <p:cNvSpPr/>
            <p:nvPr/>
          </p:nvSpPr>
          <p:spPr>
            <a:xfrm>
              <a:off x="2963652" y="3929844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B69759A-97CF-49AB-9463-DC5120F1B7CF}"/>
                </a:ext>
              </a:extLst>
            </p:cNvPr>
            <p:cNvSpPr/>
            <p:nvPr/>
          </p:nvSpPr>
          <p:spPr>
            <a:xfrm>
              <a:off x="3916152" y="3929844"/>
              <a:ext cx="952500" cy="1714500"/>
            </a:xfrm>
            <a:custGeom>
              <a:avLst/>
              <a:gdLst>
                <a:gd name="connsiteX0" fmla="*/ 95 w 952500"/>
                <a:gd name="connsiteY0" fmla="*/ 952405 h 1714500"/>
                <a:gd name="connsiteX1" fmla="*/ 0 w 952500"/>
                <a:gd name="connsiteY1" fmla="*/ 952405 h 1714500"/>
                <a:gd name="connsiteX2" fmla="*/ 0 w 952500"/>
                <a:gd name="connsiteY2" fmla="*/ 1714500 h 1714500"/>
                <a:gd name="connsiteX3" fmla="*/ 952500 w 952500"/>
                <a:gd name="connsiteY3" fmla="*/ 1714500 h 1714500"/>
                <a:gd name="connsiteX4" fmla="*/ 952500 w 952500"/>
                <a:gd name="connsiteY4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1714500">
                  <a:moveTo>
                    <a:pt x="95" y="952405"/>
                  </a:moveTo>
                  <a:lnTo>
                    <a:pt x="0" y="952405"/>
                  </a:lnTo>
                  <a:lnTo>
                    <a:pt x="0" y="1714500"/>
                  </a:lnTo>
                  <a:lnTo>
                    <a:pt x="952500" y="1714500"/>
                  </a:lnTo>
                  <a:lnTo>
                    <a:pt x="952500" y="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C0A1495F-8810-4CEE-AD8B-A43806F94FDF}"/>
                </a:ext>
              </a:extLst>
            </p:cNvPr>
            <p:cNvSpPr/>
            <p:nvPr/>
          </p:nvSpPr>
          <p:spPr>
            <a:xfrm>
              <a:off x="4868652" y="2977344"/>
              <a:ext cx="952500" cy="2667000"/>
            </a:xfrm>
            <a:custGeom>
              <a:avLst/>
              <a:gdLst>
                <a:gd name="connsiteX0" fmla="*/ 95 w 952500"/>
                <a:gd name="connsiteY0" fmla="*/ 952405 h 2667000"/>
                <a:gd name="connsiteX1" fmla="*/ 0 w 952500"/>
                <a:gd name="connsiteY1" fmla="*/ 952405 h 2667000"/>
                <a:gd name="connsiteX2" fmla="*/ 0 w 952500"/>
                <a:gd name="connsiteY2" fmla="*/ 2667000 h 2667000"/>
                <a:gd name="connsiteX3" fmla="*/ 952500 w 952500"/>
                <a:gd name="connsiteY3" fmla="*/ 2667000 h 2667000"/>
                <a:gd name="connsiteX4" fmla="*/ 952500 w 952500"/>
                <a:gd name="connsiteY4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2667000">
                  <a:moveTo>
                    <a:pt x="95" y="952405"/>
                  </a:moveTo>
                  <a:lnTo>
                    <a:pt x="0" y="952405"/>
                  </a:lnTo>
                  <a:lnTo>
                    <a:pt x="0" y="2667000"/>
                  </a:lnTo>
                  <a:lnTo>
                    <a:pt x="952500" y="2667000"/>
                  </a:lnTo>
                  <a:lnTo>
                    <a:pt x="952500" y="0"/>
                  </a:lnTo>
                  <a:close/>
                </a:path>
              </a:pathLst>
            </a:custGeom>
            <a:gradFill>
              <a:gsLst>
                <a:gs pos="40000">
                  <a:srgbClr val="00CE7D"/>
                </a:gs>
                <a:gs pos="9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55A090A-6BCA-4196-A77D-94E99524B41C}"/>
                </a:ext>
              </a:extLst>
            </p:cNvPr>
            <p:cNvSpPr/>
            <p:nvPr/>
          </p:nvSpPr>
          <p:spPr>
            <a:xfrm>
              <a:off x="2963652" y="2024844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952500 h 1905000"/>
                <a:gd name="connsiteX2" fmla="*/ 0 w 952500"/>
                <a:gd name="connsiteY2" fmla="*/ 1905000 h 1905000"/>
                <a:gd name="connsiteX3" fmla="*/ 952500 w 952500"/>
                <a:gd name="connsiteY3" fmla="*/ 1905000 h 1905000"/>
                <a:gd name="connsiteX4" fmla="*/ 952500 w 952500"/>
                <a:gd name="connsiteY4" fmla="*/ 952500 h 1905000"/>
                <a:gd name="connsiteX5" fmla="*/ 0 w 952500"/>
                <a:gd name="connsiteY5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952500"/>
                  </a:lnTo>
                  <a:lnTo>
                    <a:pt x="0" y="1905000"/>
                  </a:lnTo>
                  <a:lnTo>
                    <a:pt x="952500" y="1905000"/>
                  </a:lnTo>
                  <a:lnTo>
                    <a:pt x="952500" y="952500"/>
                  </a:lnTo>
                  <a:cubicBezTo>
                    <a:pt x="952500" y="426434"/>
                    <a:pt x="526066" y="0"/>
                    <a:pt x="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9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596462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5B62076-FC75-4AA0-9E80-245B63948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34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5B62076-FC75-4AA0-9E80-245B63948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0303AE8-D4F2-48F5-909C-2C10850F9D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E23947-D22C-4AEC-A7FB-7C20FA99B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017ED3E-FC82-4D9B-94A5-4264C37EC4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numCol="2" spcCol="432000"/>
          <a:lstStyle>
            <a:lvl1pPr>
              <a:lnSpc>
                <a:spcPct val="100000"/>
              </a:lnSpc>
              <a:spcAft>
                <a:spcPts val="400"/>
              </a:spcAft>
              <a:defRPr sz="800"/>
            </a:lvl1pPr>
            <a:lvl2pPr marL="108000" indent="-108000">
              <a:lnSpc>
                <a:spcPct val="100000"/>
              </a:lnSpc>
              <a:spcAft>
                <a:spcPts val="400"/>
              </a:spcAft>
              <a:defRPr sz="800"/>
            </a:lvl2pPr>
            <a:lvl3pPr marL="216000" indent="-108000">
              <a:lnSpc>
                <a:spcPct val="100000"/>
              </a:lnSpc>
              <a:spcAft>
                <a:spcPts val="400"/>
              </a:spcAft>
              <a:defRPr sz="800"/>
            </a:lvl3pPr>
            <a:lvl4pPr marL="324000" indent="-108000">
              <a:lnSpc>
                <a:spcPct val="100000"/>
              </a:lnSpc>
              <a:spcAft>
                <a:spcPts val="400"/>
              </a:spcAft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06830A-D0A5-4AA5-86EA-D7F8AEFE3DE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148D079-647E-40C4-BAB6-8D28E16768FC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691B8E-F709-4E3D-9D23-8791CE6F82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9017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2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426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</a:lstStyle>
          <a:p>
            <a:fld id="{C576AB3D-FDD4-4E11-BB62-B6536B566B7C}" type="datetime3">
              <a:rPr lang="en-US" noProof="0" smtClean="0"/>
              <a:t>17 January 2022</a:t>
            </a:fld>
            <a:endParaRPr lang="en-US" noProof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B7CD771-7FC5-43BF-BFEA-E91B045375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793836" y="2059632"/>
            <a:ext cx="5398164" cy="4798368"/>
            <a:chOff x="1631504" y="1916832"/>
            <a:chExt cx="4286250" cy="3810000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B87BE1D-5BCC-4B2D-A157-B5B82572D2D4}"/>
                </a:ext>
              </a:extLst>
            </p:cNvPr>
            <p:cNvSpPr/>
            <p:nvPr/>
          </p:nvSpPr>
          <p:spPr>
            <a:xfrm>
              <a:off x="3536504" y="2393082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114E78E-1106-48E6-A1F0-2DFA201B8635}"/>
                </a:ext>
              </a:extLst>
            </p:cNvPr>
            <p:cNvSpPr/>
            <p:nvPr/>
          </p:nvSpPr>
          <p:spPr>
            <a:xfrm>
              <a:off x="1631504" y="2869332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316EA6-55AF-40C5-AC64-E996B2E4C425}"/>
                </a:ext>
              </a:extLst>
            </p:cNvPr>
            <p:cNvSpPr/>
            <p:nvPr/>
          </p:nvSpPr>
          <p:spPr>
            <a:xfrm>
              <a:off x="1631504" y="4298082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1A4E63AB-059C-4C37-96CB-B9EB5192C533}"/>
                </a:ext>
              </a:extLst>
            </p:cNvPr>
            <p:cNvSpPr/>
            <p:nvPr/>
          </p:nvSpPr>
          <p:spPr>
            <a:xfrm>
              <a:off x="2584004" y="1916832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F69AC47-7EBD-4D7A-9F50-9933AE315AED}"/>
                </a:ext>
              </a:extLst>
            </p:cNvPr>
            <p:cNvSpPr/>
            <p:nvPr/>
          </p:nvSpPr>
          <p:spPr>
            <a:xfrm>
              <a:off x="4012754" y="3821832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713331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einfach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27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rgbClr val="20175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/>
            </a:lvl1pPr>
          </a:lstStyle>
          <a:p>
            <a:fld id="{B737ECFC-FD8C-4E58-9660-0BF6DFE08CFB}" type="datetime3">
              <a:rPr lang="en-US" noProof="0" smtClean="0"/>
              <a:t>17 January 2022</a:t>
            </a:fld>
            <a:endParaRPr lang="en-US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einfach (blau)">
    <p:bg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64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3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8800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36933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</a:lstStyle>
          <a:p>
            <a:fld id="{6049ED75-8AE2-4856-8CBE-A625C6965CBE}" type="datetime3">
              <a:rPr lang="en-US" noProof="0" smtClean="0"/>
              <a:t>17 January 2022</a:t>
            </a:fld>
            <a:endParaRPr lang="en-US" noProof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973" y="476936"/>
            <a:ext cx="3630623" cy="32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953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orient="horz" pos="12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einfach (weiß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411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9EFF50-DC8F-4D45-B659-61221D419A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993" y="-487273"/>
            <a:ext cx="816102" cy="1625346"/>
          </a:xfrm>
          <a:prstGeom prst="rect">
            <a:avLst/>
          </a:prstGeom>
        </p:spPr>
      </p:pic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/>
            </a:lvl1pPr>
          </a:lstStyle>
          <a:p>
            <a:fld id="{81C13407-79F5-4AC7-AB60-784BE68A29D5}" type="datetime3">
              <a:rPr lang="en-US" noProof="0" smtClean="0"/>
              <a:t>17 January 2022</a:t>
            </a:fld>
            <a:endParaRPr lang="en-US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476936"/>
            <a:ext cx="3638169" cy="32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602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Bild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4DAAD36-478C-4478-B2AD-E9E1A4AA2A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rgbClr val="CBCCCB"/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Onlinebild-Platzhalter 10">
            <a:extLst>
              <a:ext uri="{FF2B5EF4-FFF2-40B4-BE49-F238E27FC236}">
                <a16:creationId xmlns:a16="http://schemas.microsoft.com/office/drawing/2014/main" id="{F5E01BC0-C4C7-48C1-965F-F1EFE00A8932}"/>
              </a:ext>
            </a:extLst>
          </p:cNvPr>
          <p:cNvSpPr>
            <a:spLocks noGrp="1"/>
          </p:cNvSpPr>
          <p:nvPr>
            <p:ph type="clipArt" sz="quarter" idx="13" hasCustomPrompt="1"/>
          </p:nvPr>
        </p:nvSpPr>
        <p:spPr>
          <a:xfrm>
            <a:off x="601200" y="476580"/>
            <a:ext cx="3637425" cy="32987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de-DE" dirty="0"/>
              <a:t> 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rgbClr val="20175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Insert 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/>
            </a:lvl1pPr>
          </a:lstStyle>
          <a:p>
            <a:fld id="{FC7398BC-A795-44A2-81B7-7C62073F4A53}" type="datetime3">
              <a:rPr lang="en-US" noProof="0" smtClean="0"/>
              <a:t>17 January 2022</a:t>
            </a:fld>
            <a:endParaRPr lang="en-US" noProof="0" dirty="0"/>
          </a:p>
        </p:txBody>
      </p:sp>
      <p:sp>
        <p:nvSpPr>
          <p:cNvPr id="13" name="Onlinebild-Platzhalter 12">
            <a:extLst>
              <a:ext uri="{FF2B5EF4-FFF2-40B4-BE49-F238E27FC236}">
                <a16:creationId xmlns:a16="http://schemas.microsoft.com/office/drawing/2014/main" id="{40DD23F9-38CC-47A8-BA35-376C86887867}"/>
              </a:ext>
            </a:extLst>
          </p:cNvPr>
          <p:cNvSpPr>
            <a:spLocks noGrp="1"/>
          </p:cNvSpPr>
          <p:nvPr>
            <p:ph type="clipArt" sz="quarter" idx="14" hasCustomPrompt="1"/>
          </p:nvPr>
        </p:nvSpPr>
        <p:spPr>
          <a:xfrm>
            <a:off x="10800993" y="-487273"/>
            <a:ext cx="816332" cy="1625511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0315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Bild dunke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4DAAD36-478C-4478-B2AD-E9E1A4AA2A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rgbClr val="7A7A7A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Onlinebild-Platzhalter 10">
            <a:extLst>
              <a:ext uri="{FF2B5EF4-FFF2-40B4-BE49-F238E27FC236}">
                <a16:creationId xmlns:a16="http://schemas.microsoft.com/office/drawing/2014/main" id="{F5E01BC0-C4C7-48C1-965F-F1EFE00A8932}"/>
              </a:ext>
            </a:extLst>
          </p:cNvPr>
          <p:cNvSpPr>
            <a:spLocks noGrp="1"/>
          </p:cNvSpPr>
          <p:nvPr>
            <p:ph type="clipArt" sz="quarter" idx="13" hasCustomPrompt="1"/>
          </p:nvPr>
        </p:nvSpPr>
        <p:spPr>
          <a:xfrm>
            <a:off x="601200" y="476580"/>
            <a:ext cx="3637425" cy="32987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de-DE" dirty="0"/>
              <a:t> 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14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Insert 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6817" y="4689140"/>
            <a:ext cx="3529571" cy="288032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</a:lstStyle>
          <a:p>
            <a:fld id="{E0BB55D8-496C-49CA-A56B-1C636D9A6352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13" name="Onlinebild-Platzhalter 12">
            <a:extLst>
              <a:ext uri="{FF2B5EF4-FFF2-40B4-BE49-F238E27FC236}">
                <a16:creationId xmlns:a16="http://schemas.microsoft.com/office/drawing/2014/main" id="{40DD23F9-38CC-47A8-BA35-376C86887867}"/>
              </a:ext>
            </a:extLst>
          </p:cNvPr>
          <p:cNvSpPr>
            <a:spLocks noGrp="1"/>
          </p:cNvSpPr>
          <p:nvPr>
            <p:ph type="clipArt" sz="quarter" idx="14" hasCustomPrompt="1"/>
          </p:nvPr>
        </p:nvSpPr>
        <p:spPr>
          <a:xfrm>
            <a:off x="10800993" y="-487273"/>
            <a:ext cx="816332" cy="1625511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5509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481E13-4175-4F0D-966D-2109B9AE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020384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36" imgW="286" imgH="286" progId="TCLayout.ActiveDocument.1">
                  <p:embed/>
                </p:oleObj>
              </mc:Choice>
              <mc:Fallback>
                <p:oleObj name="think-cell Slide" r:id="rId36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481E13-4175-4F0D-966D-2109B9AE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74BE97C-FE03-4A6C-BBA2-09E6291090C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8631E7-C14D-418E-8123-1BD528B576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36460" y="6356350"/>
            <a:ext cx="1368165" cy="1582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7274EC83-4945-41A9-A1B0-147633395FDC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B95E2C-4B37-49A4-88B8-CB9FD1E140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03950" y="6356350"/>
            <a:ext cx="864158" cy="15419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2CB3E74-FC4B-418A-B5F6-72ED80208EB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B26C2F-D9F3-400B-A4CB-4A13AFC35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6" y="368300"/>
            <a:ext cx="11017250" cy="468412"/>
          </a:xfrm>
          <a:prstGeom prst="rect">
            <a:avLst/>
          </a:prstGeom>
        </p:spPr>
        <p:txBody>
          <a:bodyPr vert="horz" lIns="0" tIns="43200" rIns="0" bIns="0" rtlCol="0" anchor="t" anchorCtr="0">
            <a:noAutofit/>
          </a:bodyPr>
          <a:lstStyle/>
          <a:p>
            <a:r>
              <a:rPr lang="en-US" noProof="0" dirty="0"/>
              <a:t>Slide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97C92C2-1BF1-4901-A94D-EE08E8BC96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6" y="1700213"/>
            <a:ext cx="11017249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 (with space after)</a:t>
            </a:r>
          </a:p>
          <a:p>
            <a:pPr lvl="4"/>
            <a:r>
              <a:rPr lang="en-US" noProof="0" dirty="0"/>
              <a:t>Level 5 (with space after)</a:t>
            </a:r>
          </a:p>
          <a:p>
            <a:pPr lvl="5"/>
            <a:r>
              <a:rPr lang="en-US" noProof="0" dirty="0"/>
              <a:t>Level 6 (with space after)</a:t>
            </a:r>
          </a:p>
          <a:p>
            <a:pPr lvl="6"/>
            <a:r>
              <a:rPr lang="en-US" noProof="0" dirty="0"/>
              <a:t>Level 7 (for tables)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6D68B53-C20C-41E9-9ADB-DC6B70996C1A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00" y="6376596"/>
            <a:ext cx="576063" cy="126555"/>
          </a:xfrm>
          <a:prstGeom prst="rect">
            <a:avLst/>
          </a:prstGeom>
        </p:spPr>
      </p:pic>
      <p:sp>
        <p:nvSpPr>
          <p:cNvPr id="7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EDAB544D-833E-4737-884B-5FAC3A27FD33}"/>
              </a:ext>
            </a:extLst>
          </p:cNvPr>
          <p:cNvSpPr txBox="1"/>
          <p:nvPr userDrawn="1"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14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8" r:id="rId2"/>
    <p:sldLayoutId id="2147483669" r:id="rId3"/>
    <p:sldLayoutId id="2147483670" r:id="rId4"/>
    <p:sldLayoutId id="2147483671" r:id="rId5"/>
    <p:sldLayoutId id="2147483673" r:id="rId6"/>
    <p:sldLayoutId id="2147483672" r:id="rId7"/>
    <p:sldLayoutId id="2147483674" r:id="rId8"/>
    <p:sldLayoutId id="2147483675" r:id="rId9"/>
    <p:sldLayoutId id="2147483660" r:id="rId10"/>
    <p:sldLayoutId id="2147483677" r:id="rId11"/>
    <p:sldLayoutId id="2147483679" r:id="rId12"/>
    <p:sldLayoutId id="2147483676" r:id="rId13"/>
    <p:sldLayoutId id="2147483678" r:id="rId14"/>
    <p:sldLayoutId id="2147483680" r:id="rId15"/>
    <p:sldLayoutId id="2147483681" r:id="rId16"/>
    <p:sldLayoutId id="2147483663" r:id="rId17"/>
    <p:sldLayoutId id="2147483686" r:id="rId18"/>
    <p:sldLayoutId id="2147483650" r:id="rId19"/>
    <p:sldLayoutId id="2147483656" r:id="rId20"/>
    <p:sldLayoutId id="2147483657" r:id="rId21"/>
    <p:sldLayoutId id="2147483667" r:id="rId22"/>
    <p:sldLayoutId id="2147483654" r:id="rId23"/>
    <p:sldLayoutId id="2147483655" r:id="rId24"/>
    <p:sldLayoutId id="2147483693" r:id="rId25"/>
    <p:sldLayoutId id="2147483692" r:id="rId26"/>
    <p:sldLayoutId id="2147483687" r:id="rId27"/>
    <p:sldLayoutId id="2147483688" r:id="rId28"/>
    <p:sldLayoutId id="2147483689" r:id="rId29"/>
    <p:sldLayoutId id="2147483690" r:id="rId30"/>
    <p:sldLayoutId id="2147483664" r:id="rId31"/>
  </p:sldLayoutIdLst>
  <p:hf hdr="0" ftr="0"/>
  <p:txStyles>
    <p:titleStyle>
      <a:lvl1pPr algn="l" defTabSz="914400" rtl="0" eaLnBrk="1" latinLnBrk="0" hangingPunct="1">
        <a:lnSpc>
          <a:spcPts val="3300"/>
        </a:lnSpc>
        <a:spcBef>
          <a:spcPct val="0"/>
        </a:spcBef>
        <a:buNone/>
        <a:defRPr sz="3000" b="1" kern="1200">
          <a:solidFill>
            <a:srgbClr val="20175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None/>
        <a:defRPr sz="2000" kern="1200">
          <a:solidFill>
            <a:srgbClr val="1F175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000" kern="1200">
          <a:solidFill>
            <a:srgbClr val="1F175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000" kern="1200">
          <a:solidFill>
            <a:srgbClr val="1F175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None/>
        <a:defRPr sz="2000" kern="1200">
          <a:solidFill>
            <a:srgbClr val="1F175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rgbClr val="1F175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rgbClr val="1F175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None/>
        <a:defRPr sz="1200" kern="1200">
          <a:solidFill>
            <a:srgbClr val="1F1751"/>
          </a:solidFill>
          <a:latin typeface="+mn-lt"/>
          <a:ea typeface="+mn-ea"/>
          <a:cs typeface="+mn-cs"/>
        </a:defRPr>
      </a:lvl7pPr>
      <a:lvl8pPr marL="144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rgbClr val="1F1751"/>
          </a:solidFill>
          <a:latin typeface="+mn-lt"/>
          <a:ea typeface="+mn-ea"/>
          <a:cs typeface="+mn-cs"/>
        </a:defRPr>
      </a:lvl8pPr>
      <a:lvl9pPr marL="288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rgbClr val="1F175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088" userDrawn="1">
          <p15:clr>
            <a:srgbClr val="F26B43"/>
          </p15:clr>
        </p15:guide>
        <p15:guide id="8" orient="horz" pos="3861" userDrawn="1">
          <p15:clr>
            <a:srgbClr val="F26B43"/>
          </p15:clr>
        </p15:guide>
        <p15:guide id="9" orient="horz" pos="935" userDrawn="1">
          <p15:clr>
            <a:srgbClr val="F26B43"/>
          </p15:clr>
        </p15:guide>
        <p15:guide id="10" orient="horz" pos="232" userDrawn="1">
          <p15:clr>
            <a:srgbClr val="F26B43"/>
          </p15:clr>
        </p15:guide>
        <p15:guide id="12" pos="370" userDrawn="1">
          <p15:clr>
            <a:srgbClr val="F26B43"/>
          </p15:clr>
        </p15:guide>
        <p15:guide id="13" pos="7310" userDrawn="1">
          <p15:clr>
            <a:srgbClr val="F26B43"/>
          </p15:clr>
        </p15:guide>
        <p15:guide id="14" orient="horz" pos="1071" userDrawn="1">
          <p15:clr>
            <a:srgbClr val="F26B43"/>
          </p15:clr>
        </p15:guide>
        <p15:guide id="17" pos="2593" userDrawn="1">
          <p15:clr>
            <a:srgbClr val="F26B43"/>
          </p15:clr>
        </p15:guide>
        <p15:guide id="18" pos="2729" userDrawn="1">
          <p15:clr>
            <a:srgbClr val="F26B43"/>
          </p15:clr>
        </p15:guide>
        <p15:guide id="19" pos="4951" userDrawn="1">
          <p15:clr>
            <a:srgbClr val="F26B43"/>
          </p15:clr>
        </p15:guide>
        <p15:guide id="20" pos="5087" userDrawn="1">
          <p15:clr>
            <a:srgbClr val="F26B43"/>
          </p15:clr>
        </p15:guide>
        <p15:guide id="21" pos="3772" userDrawn="1">
          <p15:clr>
            <a:srgbClr val="F26B43"/>
          </p15:clr>
        </p15:guide>
        <p15:guide id="22" pos="3908" userDrawn="1">
          <p15:clr>
            <a:srgbClr val="F26B43"/>
          </p15:clr>
        </p15:guide>
        <p15:guide id="23" orient="horz" pos="12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6C29CD-42DE-41F2-9026-BB6CBDABD2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43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6C29CD-42DE-41F2-9026-BB6CBDABD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A17564-C568-45CE-BAAE-CDA5F2D977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43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2E31D03-8BAB-453A-AD48-FB7743EAD7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Eurex</a:t>
            </a:r>
            <a:r>
              <a:rPr lang="en-US" dirty="0"/>
              <a:t> </a:t>
            </a:r>
            <a:r>
              <a:rPr lang="en-US" dirty="0" err="1"/>
              <a:t>EnLight</a:t>
            </a:r>
            <a:br>
              <a:rPr lang="en-US" dirty="0"/>
            </a:br>
            <a:endParaRPr lang="en-US" dirty="0"/>
          </a:p>
        </p:txBody>
      </p:sp>
      <p:sp>
        <p:nvSpPr>
          <p:cNvPr id="26" name="Untertitel 25">
            <a:extLst>
              <a:ext uri="{FF2B5EF4-FFF2-40B4-BE49-F238E27FC236}">
                <a16:creationId xmlns:a16="http://schemas.microsoft.com/office/drawing/2014/main" id="{DBB68498-3E29-4A44-B938-C6B8C7E9F1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Quick Start Guid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69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B0AB5A7-F00D-433F-B3BC-AA7C96D41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"/>
            <a:ext cx="11052353" cy="457200"/>
          </a:xfrm>
        </p:spPr>
        <p:txBody>
          <a:bodyPr/>
          <a:lstStyle/>
          <a:p>
            <a:r>
              <a:rPr lang="en-US" dirty="0" err="1"/>
              <a:t>Eurex</a:t>
            </a:r>
            <a:r>
              <a:rPr lang="en-US" dirty="0"/>
              <a:t> </a:t>
            </a:r>
            <a:r>
              <a:rPr lang="en-US" dirty="0" err="1"/>
              <a:t>EnLight</a:t>
            </a:r>
            <a:r>
              <a:rPr lang="en-US" dirty="0"/>
              <a:t> Submit RFQ Quick Start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715351-C5A7-4F72-AF43-CE7813759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0826" y="1253986"/>
            <a:ext cx="4000893" cy="10539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CC30D6-1E1C-4CC1-A16B-8B2FBFE4AA9E}"/>
              </a:ext>
            </a:extLst>
          </p:cNvPr>
          <p:cNvSpPr txBox="1"/>
          <p:nvPr/>
        </p:nvSpPr>
        <p:spPr>
          <a:xfrm>
            <a:off x="304800" y="685800"/>
            <a:ext cx="4934866" cy="310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1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lect “Eurex EnLight Requester” on T7 User Interface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467691-26E1-431C-A531-05774B790570}"/>
              </a:ext>
            </a:extLst>
          </p:cNvPr>
          <p:cNvSpPr txBox="1"/>
          <p:nvPr/>
        </p:nvSpPr>
        <p:spPr>
          <a:xfrm>
            <a:off x="4901881" y="801891"/>
            <a:ext cx="5682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2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On the Eurex EnLight Requester Blotter select “Add Eurex EnLight”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34B1F8-FB8F-46F3-A324-836D7AB5AD4D}"/>
              </a:ext>
            </a:extLst>
          </p:cNvPr>
          <p:cNvSpPr txBox="1"/>
          <p:nvPr/>
        </p:nvSpPr>
        <p:spPr>
          <a:xfrm>
            <a:off x="304801" y="3005332"/>
            <a:ext cx="1943114" cy="310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5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 Request </a:t>
            </a:r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FF9952A-FD94-4A44-83A3-CA3C0DD0B72D}"/>
              </a:ext>
            </a:extLst>
          </p:cNvPr>
          <p:cNvCxnSpPr>
            <a:cxnSpLocks/>
          </p:cNvCxnSpPr>
          <p:nvPr/>
        </p:nvCxnSpPr>
        <p:spPr>
          <a:xfrm>
            <a:off x="104274" y="2922453"/>
            <a:ext cx="11935326" cy="0"/>
          </a:xfrm>
          <a:prstGeom prst="line">
            <a:avLst/>
          </a:prstGeom>
          <a:ln>
            <a:solidFill>
              <a:srgbClr val="DCDC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rrow: Down 36">
            <a:extLst>
              <a:ext uri="{FF2B5EF4-FFF2-40B4-BE49-F238E27FC236}">
                <a16:creationId xmlns:a16="http://schemas.microsoft.com/office/drawing/2014/main" id="{3AC683D0-59E1-41DD-B6CD-A145C1F8A52E}"/>
              </a:ext>
            </a:extLst>
          </p:cNvPr>
          <p:cNvSpPr/>
          <p:nvPr/>
        </p:nvSpPr>
        <p:spPr>
          <a:xfrm>
            <a:off x="8981433" y="2642172"/>
            <a:ext cx="310552" cy="843465"/>
          </a:xfrm>
          <a:prstGeom prst="down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Arrow: Down 38">
            <a:extLst>
              <a:ext uri="{FF2B5EF4-FFF2-40B4-BE49-F238E27FC236}">
                <a16:creationId xmlns:a16="http://schemas.microsoft.com/office/drawing/2014/main" id="{91A0CAFD-7CD8-42BC-B25B-517012541D5C}"/>
              </a:ext>
            </a:extLst>
          </p:cNvPr>
          <p:cNvSpPr/>
          <p:nvPr/>
        </p:nvSpPr>
        <p:spPr>
          <a:xfrm rot="16200000">
            <a:off x="4312699" y="1485549"/>
            <a:ext cx="310552" cy="685799"/>
          </a:xfrm>
          <a:prstGeom prst="down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5C5BCCBD-B004-44A7-9667-C6E17F4DF885}"/>
              </a:ext>
            </a:extLst>
          </p:cNvPr>
          <p:cNvSpPr/>
          <p:nvPr/>
        </p:nvSpPr>
        <p:spPr>
          <a:xfrm rot="5400000">
            <a:off x="5677922" y="4182387"/>
            <a:ext cx="357084" cy="594479"/>
          </a:xfrm>
          <a:prstGeom prst="down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F574E9A-56C6-4C97-83A8-1ADA3E374EB1}"/>
              </a:ext>
            </a:extLst>
          </p:cNvPr>
          <p:cNvSpPr/>
          <p:nvPr/>
        </p:nvSpPr>
        <p:spPr>
          <a:xfrm>
            <a:off x="734130" y="5329432"/>
            <a:ext cx="130629" cy="180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1DAF9F8-358C-4065-9D81-B7F1D0CD2904}"/>
              </a:ext>
            </a:extLst>
          </p:cNvPr>
          <p:cNvSpPr/>
          <p:nvPr/>
        </p:nvSpPr>
        <p:spPr>
          <a:xfrm>
            <a:off x="4901880" y="2105315"/>
            <a:ext cx="707425" cy="1843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F09CA9-CCF1-42C8-9059-EBAAD755D6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184" y="944529"/>
            <a:ext cx="3112113" cy="17678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282ADC-11E0-4B24-95B7-0745AB7580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5" r="41172" b="37445"/>
          <a:stretch/>
        </p:blipFill>
        <p:spPr>
          <a:xfrm>
            <a:off x="7743107" y="2044691"/>
            <a:ext cx="3881203" cy="1080180"/>
          </a:xfrm>
          <a:prstGeom prst="rect">
            <a:avLst/>
          </a:prstGeom>
        </p:spPr>
      </p:pic>
      <p:sp>
        <p:nvSpPr>
          <p:cNvPr id="12" name="Arrow: Bent-Up 11">
            <a:extLst>
              <a:ext uri="{FF2B5EF4-FFF2-40B4-BE49-F238E27FC236}">
                <a16:creationId xmlns:a16="http://schemas.microsoft.com/office/drawing/2014/main" id="{DF2A32D1-8530-48A0-9A20-EC493684E37F}"/>
              </a:ext>
            </a:extLst>
          </p:cNvPr>
          <p:cNvSpPr/>
          <p:nvPr/>
        </p:nvSpPr>
        <p:spPr>
          <a:xfrm rot="10800000" flipH="1">
            <a:off x="9031670" y="1513555"/>
            <a:ext cx="645730" cy="479849"/>
          </a:xfrm>
          <a:prstGeom prst="ben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003D5D-79BD-4EAB-B525-06AADBC43DF0}"/>
              </a:ext>
            </a:extLst>
          </p:cNvPr>
          <p:cNvSpPr/>
          <p:nvPr/>
        </p:nvSpPr>
        <p:spPr>
          <a:xfrm>
            <a:off x="10210800" y="2216719"/>
            <a:ext cx="261818" cy="2818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807AF34-CD64-4E70-9311-F10FAF5CBD54}"/>
              </a:ext>
            </a:extLst>
          </p:cNvPr>
          <p:cNvSpPr txBox="1"/>
          <p:nvPr/>
        </p:nvSpPr>
        <p:spPr>
          <a:xfrm>
            <a:off x="9814248" y="1143214"/>
            <a:ext cx="2131369" cy="907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3: </a:t>
            </a: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On the Eurex EnLight Requester Details click on the Type Icon and strategy selection window will pop up</a:t>
            </a:r>
            <a:endParaRPr lang="en-US" sz="11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C2A4952-B2DE-4ED6-AC07-21F9AE1B36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3063" y="3536923"/>
            <a:ext cx="5556740" cy="297093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1554C293-D0FA-41EF-B314-07DA12B984F7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34975" y="3383412"/>
            <a:ext cx="5374892" cy="2915153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3ADEA30B-8F47-409F-9103-E995B39CC0D3}"/>
              </a:ext>
            </a:extLst>
          </p:cNvPr>
          <p:cNvSpPr/>
          <p:nvPr/>
        </p:nvSpPr>
        <p:spPr>
          <a:xfrm>
            <a:off x="179318" y="6014516"/>
            <a:ext cx="354082" cy="1576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BB50380-6FDE-4805-985F-E180C34D7BD4}"/>
              </a:ext>
            </a:extLst>
          </p:cNvPr>
          <p:cNvSpPr txBox="1"/>
          <p:nvPr/>
        </p:nvSpPr>
        <p:spPr>
          <a:xfrm>
            <a:off x="6185436" y="3007628"/>
            <a:ext cx="6095158" cy="310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4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Fill in the RFQ Request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177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3353E0-1ADE-41BA-9E85-4D1BB3EC6E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0162" y="930284"/>
            <a:ext cx="5237825" cy="2384701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44650AFF-CB95-4344-96DA-968951870487}"/>
              </a:ext>
            </a:extLst>
          </p:cNvPr>
          <p:cNvGrpSpPr/>
          <p:nvPr/>
        </p:nvGrpSpPr>
        <p:grpSpPr>
          <a:xfrm>
            <a:off x="6143935" y="685799"/>
            <a:ext cx="5333957" cy="2833479"/>
            <a:chOff x="6113366" y="712348"/>
            <a:chExt cx="5682454" cy="285083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C39FC58-EDCD-4439-BF2A-557AD264BC79}"/>
                </a:ext>
              </a:extLst>
            </p:cNvPr>
            <p:cNvSpPr txBox="1"/>
            <p:nvPr/>
          </p:nvSpPr>
          <p:spPr>
            <a:xfrm>
              <a:off x="6113366" y="712348"/>
              <a:ext cx="56824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tep 2: </a:t>
              </a:r>
              <a:r>
                <a:rPr lang="en-GB" sz="1200" dirty="0">
                  <a:latin typeface="Arial" panose="020B0604020202020204" pitchFamily="34" charset="0"/>
                  <a:cs typeface="Arial" panose="020B0604020202020204" pitchFamily="34" charset="0"/>
                </a:rPr>
                <a:t>Review and Submit Deal   </a:t>
              </a:r>
            </a:p>
          </p:txBody>
        </p:sp>
        <p:sp>
          <p:nvSpPr>
            <p:cNvPr id="25" name="Arrow: Down 24">
              <a:extLst>
                <a:ext uri="{FF2B5EF4-FFF2-40B4-BE49-F238E27FC236}">
                  <a16:creationId xmlns:a16="http://schemas.microsoft.com/office/drawing/2014/main" id="{BFE1C686-0C51-425B-9072-08F202C8DE57}"/>
                </a:ext>
              </a:extLst>
            </p:cNvPr>
            <p:cNvSpPr/>
            <p:nvPr/>
          </p:nvSpPr>
          <p:spPr>
            <a:xfrm>
              <a:off x="9084999" y="3112404"/>
              <a:ext cx="310552" cy="450780"/>
            </a:xfrm>
            <a:prstGeom prst="downArrow">
              <a:avLst/>
            </a:prstGeom>
            <a:solidFill>
              <a:srgbClr val="00377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33671A-77EC-427D-B7CD-70AF38C13A05}"/>
              </a:ext>
            </a:extLst>
          </p:cNvPr>
          <p:cNvCxnSpPr>
            <a:cxnSpLocks/>
          </p:cNvCxnSpPr>
          <p:nvPr/>
        </p:nvCxnSpPr>
        <p:spPr>
          <a:xfrm flipV="1">
            <a:off x="6189408" y="599501"/>
            <a:ext cx="0" cy="6155260"/>
          </a:xfrm>
          <a:prstGeom prst="line">
            <a:avLst/>
          </a:prstGeom>
          <a:ln>
            <a:solidFill>
              <a:srgbClr val="DCDC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D4F161E-8482-4FDC-986F-BDB4CD751624}"/>
              </a:ext>
            </a:extLst>
          </p:cNvPr>
          <p:cNvSpPr txBox="1"/>
          <p:nvPr/>
        </p:nvSpPr>
        <p:spPr>
          <a:xfrm>
            <a:off x="304802" y="685800"/>
            <a:ext cx="4763760" cy="310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1: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lect a Quote </a:t>
            </a: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D2845AB6-6A88-43A7-9B63-B577C90B227C}"/>
              </a:ext>
            </a:extLst>
          </p:cNvPr>
          <p:cNvSpPr/>
          <p:nvPr/>
        </p:nvSpPr>
        <p:spPr>
          <a:xfrm rot="16200000">
            <a:off x="5624730" y="1532899"/>
            <a:ext cx="353944" cy="1423628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EB525F-582D-4823-8494-14DBF37A4A03}"/>
              </a:ext>
            </a:extLst>
          </p:cNvPr>
          <p:cNvSpPr txBox="1"/>
          <p:nvPr/>
        </p:nvSpPr>
        <p:spPr>
          <a:xfrm>
            <a:off x="5050523" y="2131658"/>
            <a:ext cx="1673704" cy="217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l entry window pops-up</a:t>
            </a: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62D3A26D-2157-4015-B612-BC2243B9EAF1}"/>
              </a:ext>
            </a:extLst>
          </p:cNvPr>
          <p:cNvSpPr/>
          <p:nvPr/>
        </p:nvSpPr>
        <p:spPr>
          <a:xfrm rot="5400000">
            <a:off x="5241809" y="3729512"/>
            <a:ext cx="273376" cy="1127612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32D89EC-5602-4A80-AD80-A0A9AC5CBFF6}"/>
              </a:ext>
            </a:extLst>
          </p:cNvPr>
          <p:cNvGrpSpPr/>
          <p:nvPr/>
        </p:nvGrpSpPr>
        <p:grpSpPr>
          <a:xfrm>
            <a:off x="304802" y="4031124"/>
            <a:ext cx="5582573" cy="1611357"/>
            <a:chOff x="51018" y="4068909"/>
            <a:chExt cx="5951576" cy="17964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B5836DA-468A-4383-A288-9C4D128AD5F1}"/>
                </a:ext>
              </a:extLst>
            </p:cNvPr>
            <p:cNvSpPr txBox="1"/>
            <p:nvPr/>
          </p:nvSpPr>
          <p:spPr>
            <a:xfrm>
              <a:off x="51018" y="4157612"/>
              <a:ext cx="5259484" cy="4497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After RFQ Session ends Transfer Timer starts </a:t>
              </a:r>
            </a:p>
            <a:p>
              <a:r>
                <a:rPr lang="en-GB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(No further user action required)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9FDAD0A-9052-4D14-96C1-C1D66C34E3BA}"/>
                </a:ext>
              </a:extLst>
            </p:cNvPr>
            <p:cNvSpPr txBox="1"/>
            <p:nvPr/>
          </p:nvSpPr>
          <p:spPr>
            <a:xfrm>
              <a:off x="83842" y="5363318"/>
              <a:ext cx="3069905" cy="502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After Transfer Timer ends Trades are created at Eurex </a:t>
              </a:r>
              <a:r>
                <a:rPr lang="en-GB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(No further user action required)</a:t>
              </a:r>
              <a:r>
                <a:rPr lang="en-GB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33" name="Arrow: Down 32">
              <a:extLst>
                <a:ext uri="{FF2B5EF4-FFF2-40B4-BE49-F238E27FC236}">
                  <a16:creationId xmlns:a16="http://schemas.microsoft.com/office/drawing/2014/main" id="{ABEDB5EE-1F64-4551-898F-D784CBA06384}"/>
                </a:ext>
              </a:extLst>
            </p:cNvPr>
            <p:cNvSpPr/>
            <p:nvPr/>
          </p:nvSpPr>
          <p:spPr>
            <a:xfrm>
              <a:off x="3123275" y="5405448"/>
              <a:ext cx="310552" cy="346735"/>
            </a:xfrm>
            <a:prstGeom prst="downArrow">
              <a:avLst/>
            </a:prstGeom>
            <a:solidFill>
              <a:srgbClr val="00377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EC037C-41E2-4D32-B13E-8EF0D1B85F34}"/>
                </a:ext>
              </a:extLst>
            </p:cNvPr>
            <p:cNvCxnSpPr>
              <a:cxnSpLocks/>
            </p:cNvCxnSpPr>
            <p:nvPr/>
          </p:nvCxnSpPr>
          <p:spPr>
            <a:xfrm>
              <a:off x="83841" y="4068909"/>
              <a:ext cx="5918753" cy="0"/>
            </a:xfrm>
            <a:prstGeom prst="line">
              <a:avLst/>
            </a:prstGeom>
            <a:ln>
              <a:solidFill>
                <a:srgbClr val="DCDCD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itle 1">
            <a:extLst>
              <a:ext uri="{FF2B5EF4-FFF2-40B4-BE49-F238E27FC236}">
                <a16:creationId xmlns:a16="http://schemas.microsoft.com/office/drawing/2014/main" id="{07E484B9-68F8-420D-846E-3A1E2A338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"/>
            <a:ext cx="11052353" cy="457200"/>
          </a:xfrm>
        </p:spPr>
        <p:txBody>
          <a:bodyPr/>
          <a:lstStyle/>
          <a:p>
            <a:r>
              <a:rPr lang="en-US" dirty="0"/>
              <a:t>Eurex EnLight Dealing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2FC118E-4865-420C-A2A4-AB042BF0AA6F}"/>
              </a:ext>
            </a:extLst>
          </p:cNvPr>
          <p:cNvSpPr/>
          <p:nvPr/>
        </p:nvSpPr>
        <p:spPr>
          <a:xfrm>
            <a:off x="6576206" y="4454754"/>
            <a:ext cx="204962" cy="22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5B9A17A-5CBD-4427-B5BE-416C222F3062}"/>
              </a:ext>
            </a:extLst>
          </p:cNvPr>
          <p:cNvSpPr/>
          <p:nvPr/>
        </p:nvSpPr>
        <p:spPr>
          <a:xfrm>
            <a:off x="6501384" y="2715768"/>
            <a:ext cx="5148072" cy="29260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92B0A78-0DBA-4316-8225-907249A504E1}"/>
              </a:ext>
            </a:extLst>
          </p:cNvPr>
          <p:cNvSpPr/>
          <p:nvPr/>
        </p:nvSpPr>
        <p:spPr>
          <a:xfrm>
            <a:off x="6501384" y="3008375"/>
            <a:ext cx="509016" cy="16459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6F95C58-76F8-415F-95AE-C5E7E35BA318}"/>
              </a:ext>
            </a:extLst>
          </p:cNvPr>
          <p:cNvSpPr txBox="1"/>
          <p:nvPr/>
        </p:nvSpPr>
        <p:spPr>
          <a:xfrm>
            <a:off x="6934200" y="1752600"/>
            <a:ext cx="1159343" cy="229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eview Deal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94D546A-143A-4491-96E4-6C8B6BB9DC0A}"/>
              </a:ext>
            </a:extLst>
          </p:cNvPr>
          <p:cNvSpPr txBox="1"/>
          <p:nvPr/>
        </p:nvSpPr>
        <p:spPr>
          <a:xfrm>
            <a:off x="7160104" y="2478766"/>
            <a:ext cx="3646508" cy="229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Fill in MiFID fields (If they are not defaulted)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FBCCA03-FFC9-4112-A56B-D5BDC7DB8195}"/>
              </a:ext>
            </a:extLst>
          </p:cNvPr>
          <p:cNvSpPr txBox="1"/>
          <p:nvPr/>
        </p:nvSpPr>
        <p:spPr>
          <a:xfrm>
            <a:off x="7010400" y="3008376"/>
            <a:ext cx="1012733" cy="229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ubmit Deal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27D674C0-A169-4A32-967B-77A0774A049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567"/>
          <a:stretch/>
        </p:blipFill>
        <p:spPr>
          <a:xfrm>
            <a:off x="430848" y="4541224"/>
            <a:ext cx="5511455" cy="464279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A9CBA150-233D-4242-9B2C-A2EC2C9D3001}"/>
              </a:ext>
            </a:extLst>
          </p:cNvPr>
          <p:cNvSpPr/>
          <p:nvPr/>
        </p:nvSpPr>
        <p:spPr>
          <a:xfrm>
            <a:off x="5084064" y="4800599"/>
            <a:ext cx="320040" cy="20490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08A90C14-69A0-4AFC-9831-384CDD5FEE8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4892"/>
          <a:stretch/>
        </p:blipFill>
        <p:spPr>
          <a:xfrm>
            <a:off x="427462" y="5652184"/>
            <a:ext cx="5514842" cy="577809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1A34D172-3781-4178-8AFF-A1CCD9D4281A}"/>
              </a:ext>
            </a:extLst>
          </p:cNvPr>
          <p:cNvSpPr/>
          <p:nvPr/>
        </p:nvSpPr>
        <p:spPr>
          <a:xfrm>
            <a:off x="429768" y="6044184"/>
            <a:ext cx="5494522" cy="192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BFF430-06D6-4432-A680-B83CD14FFD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570" y="967525"/>
            <a:ext cx="4616619" cy="29523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6875CA-373F-4656-92B5-98F6BE1F55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1384" y="3518473"/>
            <a:ext cx="4700016" cy="326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04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CB0EC40-9107-47D0-9217-3DB6B5F0F1D8}"/>
              </a:ext>
            </a:extLst>
          </p:cNvPr>
          <p:cNvSpPr txBox="1"/>
          <p:nvPr/>
        </p:nvSpPr>
        <p:spPr>
          <a:xfrm>
            <a:off x="312436" y="970670"/>
            <a:ext cx="544312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1: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Click Settings Icon on the top right of the Request Window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and select “Properties” from the men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E92017-C648-4CAF-8174-B1E6C081E479}"/>
              </a:ext>
            </a:extLst>
          </p:cNvPr>
          <p:cNvSpPr txBox="1"/>
          <p:nvPr/>
        </p:nvSpPr>
        <p:spPr>
          <a:xfrm>
            <a:off x="6294136" y="970670"/>
            <a:ext cx="56692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2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t defaults for the MiFID fields and any other Request settings and Apply (You can override these on the ticket) 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B834AF8D-AF62-432D-B082-A055BAACEED4}"/>
              </a:ext>
            </a:extLst>
          </p:cNvPr>
          <p:cNvSpPr/>
          <p:nvPr/>
        </p:nvSpPr>
        <p:spPr>
          <a:xfrm rot="16200000">
            <a:off x="5558932" y="3055187"/>
            <a:ext cx="310552" cy="874994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3E8BC95-B9EF-4368-8E98-832EC7726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"/>
            <a:ext cx="11052353" cy="457200"/>
          </a:xfrm>
        </p:spPr>
        <p:txBody>
          <a:bodyPr/>
          <a:lstStyle/>
          <a:p>
            <a:r>
              <a:rPr lang="en-US" dirty="0"/>
              <a:t>Eurex EnLight Requester Details Setting Default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31B052-9B25-4A78-83E4-6399C38AD9F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12436" y="1771659"/>
            <a:ext cx="5212064" cy="381461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1063E62-71B4-478E-A953-219781B00208}"/>
              </a:ext>
            </a:extLst>
          </p:cNvPr>
          <p:cNvSpPr/>
          <p:nvPr/>
        </p:nvSpPr>
        <p:spPr>
          <a:xfrm>
            <a:off x="4343400" y="1771660"/>
            <a:ext cx="179832" cy="16374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3EBCD26-AF33-4D87-80C6-F763189694E2}"/>
              </a:ext>
            </a:extLst>
          </p:cNvPr>
          <p:cNvSpPr/>
          <p:nvPr/>
        </p:nvSpPr>
        <p:spPr>
          <a:xfrm>
            <a:off x="4372516" y="2506304"/>
            <a:ext cx="656684" cy="16374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323B44E-998C-4401-AF46-3034CC8B3FD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010400" y="1542945"/>
            <a:ext cx="3352800" cy="48006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9180C51-577B-40CB-A5E6-6FACCF67E635}"/>
              </a:ext>
            </a:extLst>
          </p:cNvPr>
          <p:cNvSpPr/>
          <p:nvPr/>
        </p:nvSpPr>
        <p:spPr>
          <a:xfrm>
            <a:off x="7076773" y="3130901"/>
            <a:ext cx="3210226" cy="1235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884DE5-3037-43FC-922A-14FC4665645C}"/>
              </a:ext>
            </a:extLst>
          </p:cNvPr>
          <p:cNvSpPr/>
          <p:nvPr/>
        </p:nvSpPr>
        <p:spPr>
          <a:xfrm>
            <a:off x="9905999" y="6006065"/>
            <a:ext cx="386051" cy="2423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33F8E9-8B56-407A-A8E2-13B194A9C0A2}"/>
              </a:ext>
            </a:extLst>
          </p:cNvPr>
          <p:cNvSpPr/>
          <p:nvPr/>
        </p:nvSpPr>
        <p:spPr>
          <a:xfrm>
            <a:off x="7076772" y="4499012"/>
            <a:ext cx="3210227" cy="138831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90231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0348D056-5EE9-4D91-93EE-82C5F1FFED63}"/>
              </a:ext>
            </a:extLst>
          </p:cNvPr>
          <p:cNvPicPr/>
          <p:nvPr/>
        </p:nvPicPr>
        <p:blipFill rotWithShape="1">
          <a:blip r:embed="rId3"/>
          <a:srcRect r="48894"/>
          <a:stretch/>
        </p:blipFill>
        <p:spPr>
          <a:xfrm>
            <a:off x="762000" y="2928269"/>
            <a:ext cx="3659644" cy="313787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5E4240A-7443-49AF-8B41-93AE1F413504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201374" y="3263164"/>
            <a:ext cx="5911886" cy="28029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3D1627-A9D8-4862-981A-BDB6C2899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"/>
            <a:ext cx="11052353" cy="457200"/>
          </a:xfrm>
        </p:spPr>
        <p:txBody>
          <a:bodyPr/>
          <a:lstStyle/>
          <a:p>
            <a:r>
              <a:rPr lang="de-DE" dirty="0"/>
              <a:t>Eurex </a:t>
            </a:r>
            <a:r>
              <a:rPr lang="de-DE" dirty="0" err="1"/>
              <a:t>EnLight</a:t>
            </a:r>
            <a:r>
              <a:rPr lang="de-DE" dirty="0"/>
              <a:t> Responder Quick Start Guid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6E96F-C892-4B96-BC02-622BA56F22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91010" y="6145741"/>
            <a:ext cx="1368165" cy="158256"/>
          </a:xfrm>
        </p:spPr>
        <p:txBody>
          <a:bodyPr/>
          <a:lstStyle/>
          <a:p>
            <a:fld id="{36A480C6-9A9A-4F38-8409-97AB8F835432}" type="datetime3">
              <a:rPr lang="en-US" noProof="0" smtClean="0"/>
              <a:t>17 January 2022</a:t>
            </a:fld>
            <a:endParaRPr lang="en-US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9F3CFA-5166-45BA-945A-724C71EF8BDF}"/>
              </a:ext>
            </a:extLst>
          </p:cNvPr>
          <p:cNvSpPr txBox="1"/>
          <p:nvPr/>
        </p:nvSpPr>
        <p:spPr>
          <a:xfrm>
            <a:off x="304801" y="682823"/>
            <a:ext cx="4729627" cy="310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1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lect “Eurex EnLight Responder” on T7 User Interface   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E14CB1-4F2F-49D2-A696-783296F024DB}"/>
              </a:ext>
            </a:extLst>
          </p:cNvPr>
          <p:cNvSpPr txBox="1"/>
          <p:nvPr/>
        </p:nvSpPr>
        <p:spPr>
          <a:xfrm>
            <a:off x="6655722" y="654858"/>
            <a:ext cx="508985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2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On the Eurex EnLight Responder Blotter double click the RFQ 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you want to respond to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73EF48-C199-42A7-8CE4-415F13C87658}"/>
              </a:ext>
            </a:extLst>
          </p:cNvPr>
          <p:cNvGrpSpPr/>
          <p:nvPr/>
        </p:nvGrpSpPr>
        <p:grpSpPr>
          <a:xfrm>
            <a:off x="6381062" y="2743200"/>
            <a:ext cx="5606321" cy="3307913"/>
            <a:chOff x="361886" y="2787880"/>
            <a:chExt cx="5695090" cy="342675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F07BCB-A32C-4B06-B89B-F7896DFBAD73}"/>
                </a:ext>
              </a:extLst>
            </p:cNvPr>
            <p:cNvSpPr txBox="1"/>
            <p:nvPr/>
          </p:nvSpPr>
          <p:spPr>
            <a:xfrm>
              <a:off x="361886" y="2787880"/>
              <a:ext cx="214353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tep 3: 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Fill in your quot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376782B-B486-43CC-B4B8-46F7696F0276}"/>
                </a:ext>
              </a:extLst>
            </p:cNvPr>
            <p:cNvSpPr txBox="1"/>
            <p:nvPr/>
          </p:nvSpPr>
          <p:spPr>
            <a:xfrm>
              <a:off x="2394506" y="5756592"/>
              <a:ext cx="3662470" cy="265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Fill in the mandatory fields for the Quote (in yellow) 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4ED9E3F-25AE-4C0E-99A4-5D61239B4964}"/>
                </a:ext>
              </a:extLst>
            </p:cNvPr>
            <p:cNvSpPr txBox="1"/>
            <p:nvPr/>
          </p:nvSpPr>
          <p:spPr>
            <a:xfrm>
              <a:off x="1001189" y="4563394"/>
              <a:ext cx="4204248" cy="265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Review information shared by the Requester (if any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A0618F6-E1A0-488D-A212-A36C7022E2E3}"/>
                </a:ext>
              </a:extLst>
            </p:cNvPr>
            <p:cNvSpPr txBox="1"/>
            <p:nvPr/>
          </p:nvSpPr>
          <p:spPr>
            <a:xfrm>
              <a:off x="552857" y="3795761"/>
              <a:ext cx="835364" cy="449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Review </a:t>
              </a:r>
            </a:p>
            <a:p>
              <a:r>
                <a:rPr lang="en-GB" sz="105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egy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C0DB6C9-30DA-4210-93BE-7C5A5E8FBCF3}"/>
                </a:ext>
              </a:extLst>
            </p:cNvPr>
            <p:cNvSpPr txBox="1"/>
            <p:nvPr/>
          </p:nvSpPr>
          <p:spPr>
            <a:xfrm>
              <a:off x="2394506" y="5949139"/>
              <a:ext cx="2987892" cy="265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Fill in the MiFID fields (Can be defaulted) 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179E83-C2A1-411A-BEEE-B2C7B88DA636}"/>
              </a:ext>
            </a:extLst>
          </p:cNvPr>
          <p:cNvCxnSpPr>
            <a:cxnSpLocks/>
          </p:cNvCxnSpPr>
          <p:nvPr/>
        </p:nvCxnSpPr>
        <p:spPr>
          <a:xfrm>
            <a:off x="152400" y="2763957"/>
            <a:ext cx="11935326" cy="0"/>
          </a:xfrm>
          <a:prstGeom prst="line">
            <a:avLst/>
          </a:prstGeom>
          <a:ln>
            <a:solidFill>
              <a:srgbClr val="DCDC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F0BB77-2AB1-48D4-8AEE-EE0AD2DD884A}"/>
              </a:ext>
            </a:extLst>
          </p:cNvPr>
          <p:cNvCxnSpPr>
            <a:cxnSpLocks/>
          </p:cNvCxnSpPr>
          <p:nvPr/>
        </p:nvCxnSpPr>
        <p:spPr>
          <a:xfrm flipV="1">
            <a:off x="6110037" y="609600"/>
            <a:ext cx="0" cy="6155260"/>
          </a:xfrm>
          <a:prstGeom prst="line">
            <a:avLst/>
          </a:prstGeom>
          <a:ln>
            <a:solidFill>
              <a:srgbClr val="DCDC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rrow: Down 30">
            <a:extLst>
              <a:ext uri="{FF2B5EF4-FFF2-40B4-BE49-F238E27FC236}">
                <a16:creationId xmlns:a16="http://schemas.microsoft.com/office/drawing/2014/main" id="{AD077740-F816-427F-8561-E9B258D61776}"/>
              </a:ext>
            </a:extLst>
          </p:cNvPr>
          <p:cNvSpPr/>
          <p:nvPr/>
        </p:nvSpPr>
        <p:spPr>
          <a:xfrm>
            <a:off x="9139877" y="2328611"/>
            <a:ext cx="310552" cy="719389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6C7D3190-8BBD-4CAB-BDBF-B9FBEBEA8ED0}"/>
              </a:ext>
            </a:extLst>
          </p:cNvPr>
          <p:cNvSpPr/>
          <p:nvPr/>
        </p:nvSpPr>
        <p:spPr>
          <a:xfrm rot="16200000">
            <a:off x="5117047" y="894856"/>
            <a:ext cx="310552" cy="1952203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CC63CD86-D624-4C59-BC89-CC693AE04452}"/>
              </a:ext>
            </a:extLst>
          </p:cNvPr>
          <p:cNvSpPr/>
          <p:nvPr/>
        </p:nvSpPr>
        <p:spPr>
          <a:xfrm rot="5400000">
            <a:off x="5619270" y="4185077"/>
            <a:ext cx="302947" cy="756694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B815F63-DB28-49DB-B9C1-E1E65880C2D0}"/>
              </a:ext>
            </a:extLst>
          </p:cNvPr>
          <p:cNvSpPr/>
          <p:nvPr/>
        </p:nvSpPr>
        <p:spPr>
          <a:xfrm>
            <a:off x="1009924" y="4713427"/>
            <a:ext cx="187940" cy="22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DF121B-D2EB-4E33-890C-CF86340E727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4950"/>
          <a:stretch/>
        </p:blipFill>
        <p:spPr>
          <a:xfrm>
            <a:off x="6569057" y="1185525"/>
            <a:ext cx="5176520" cy="1081424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5A4EB818-E524-46E2-9EAE-4838CA41B3F7}"/>
              </a:ext>
            </a:extLst>
          </p:cNvPr>
          <p:cNvSpPr/>
          <p:nvPr/>
        </p:nvSpPr>
        <p:spPr>
          <a:xfrm>
            <a:off x="6611111" y="1714045"/>
            <a:ext cx="5134465" cy="11475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E19F38-2B08-426B-9D08-93E93747C27A}"/>
              </a:ext>
            </a:extLst>
          </p:cNvPr>
          <p:cNvSpPr/>
          <p:nvPr/>
        </p:nvSpPr>
        <p:spPr>
          <a:xfrm>
            <a:off x="6819259" y="3391292"/>
            <a:ext cx="3303418" cy="3248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CA04B91-0442-48A2-A066-97ECE7D7836C}"/>
              </a:ext>
            </a:extLst>
          </p:cNvPr>
          <p:cNvSpPr/>
          <p:nvPr/>
        </p:nvSpPr>
        <p:spPr>
          <a:xfrm>
            <a:off x="6238257" y="4713427"/>
            <a:ext cx="4963143" cy="3157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21B3C06-63F9-4DED-AD94-464C639E2E6F}"/>
              </a:ext>
            </a:extLst>
          </p:cNvPr>
          <p:cNvSpPr/>
          <p:nvPr/>
        </p:nvSpPr>
        <p:spPr>
          <a:xfrm>
            <a:off x="6238257" y="5105400"/>
            <a:ext cx="4963143" cy="50355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CDEE80F-0AC3-4BC5-9B5B-44850F015795}"/>
              </a:ext>
            </a:extLst>
          </p:cNvPr>
          <p:cNvSpPr/>
          <p:nvPr/>
        </p:nvSpPr>
        <p:spPr>
          <a:xfrm>
            <a:off x="866996" y="5772308"/>
            <a:ext cx="580804" cy="18587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329D793-EF52-4ACC-9FC8-A51455DB9D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4546" y="969333"/>
            <a:ext cx="3094965" cy="171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850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00081A1E-1F61-4408-898A-ED7B8E5F881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71738" y="2020825"/>
            <a:ext cx="6251020" cy="342595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B972E6-1DF2-481E-BE96-9CA0D2DBA17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990034" y="1763055"/>
            <a:ext cx="3819307" cy="47139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3AEA897-1245-4433-A432-1E21F9473987}"/>
              </a:ext>
            </a:extLst>
          </p:cNvPr>
          <p:cNvSpPr txBox="1"/>
          <p:nvPr/>
        </p:nvSpPr>
        <p:spPr>
          <a:xfrm>
            <a:off x="527856" y="1232722"/>
            <a:ext cx="544312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1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Click Settings Icon on the top right of the Request Window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and select “Properties” from the menu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A5D1E8-AF4F-4402-A3C9-B897EC218548}"/>
              </a:ext>
            </a:extLst>
          </p:cNvPr>
          <p:cNvSpPr txBox="1"/>
          <p:nvPr/>
        </p:nvSpPr>
        <p:spPr>
          <a:xfrm>
            <a:off x="6778876" y="1232722"/>
            <a:ext cx="40059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tep 2: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t defaults for MiFID fields and Apply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(You can override them on the ticket) </a:t>
            </a: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1F767EA7-E193-4414-90F1-567280ABD566}"/>
              </a:ext>
            </a:extLst>
          </p:cNvPr>
          <p:cNvSpPr/>
          <p:nvPr/>
        </p:nvSpPr>
        <p:spPr>
          <a:xfrm rot="16200000">
            <a:off x="6125125" y="3384802"/>
            <a:ext cx="310552" cy="697998"/>
          </a:xfrm>
          <a:prstGeom prst="downArrow">
            <a:avLst/>
          </a:prstGeom>
          <a:solidFill>
            <a:srgbClr val="00377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9179F7F-1735-40F9-B981-7051FC097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"/>
            <a:ext cx="11052353" cy="457200"/>
          </a:xfrm>
        </p:spPr>
        <p:txBody>
          <a:bodyPr/>
          <a:lstStyle/>
          <a:p>
            <a:r>
              <a:rPr lang="en-US" dirty="0" err="1"/>
              <a:t>Eurex</a:t>
            </a:r>
            <a:r>
              <a:rPr lang="en-US" dirty="0"/>
              <a:t> </a:t>
            </a:r>
            <a:r>
              <a:rPr lang="en-US" dirty="0" err="1"/>
              <a:t>EnLight</a:t>
            </a:r>
            <a:r>
              <a:rPr lang="en-US" dirty="0"/>
              <a:t> Quote Entry Setting Defaul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6DF9BC-E468-4FFC-A589-B9969898C45B}"/>
              </a:ext>
            </a:extLst>
          </p:cNvPr>
          <p:cNvSpPr/>
          <p:nvPr/>
        </p:nvSpPr>
        <p:spPr>
          <a:xfrm>
            <a:off x="1256222" y="3713004"/>
            <a:ext cx="187482" cy="22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93A4DE0-2401-4616-811A-8CA664D91AE0}"/>
              </a:ext>
            </a:extLst>
          </p:cNvPr>
          <p:cNvSpPr/>
          <p:nvPr/>
        </p:nvSpPr>
        <p:spPr>
          <a:xfrm>
            <a:off x="5713815" y="2020825"/>
            <a:ext cx="162666" cy="1463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6198306-7895-4698-90B9-20BC538F5649}"/>
              </a:ext>
            </a:extLst>
          </p:cNvPr>
          <p:cNvSpPr/>
          <p:nvPr/>
        </p:nvSpPr>
        <p:spPr>
          <a:xfrm>
            <a:off x="5713815" y="2675341"/>
            <a:ext cx="630936" cy="15544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751A1D3-729A-4523-AA52-B3E1DF484439}"/>
              </a:ext>
            </a:extLst>
          </p:cNvPr>
          <p:cNvSpPr/>
          <p:nvPr/>
        </p:nvSpPr>
        <p:spPr>
          <a:xfrm>
            <a:off x="7086600" y="2819401"/>
            <a:ext cx="2971800" cy="1828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240696-B199-4315-BA5C-084A79E7A6A7}"/>
              </a:ext>
            </a:extLst>
          </p:cNvPr>
          <p:cNvSpPr/>
          <p:nvPr/>
        </p:nvSpPr>
        <p:spPr>
          <a:xfrm>
            <a:off x="10341308" y="6144767"/>
            <a:ext cx="421672" cy="1828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93996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NMVN6Iqu93BoG2_nkC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hGzxNS3SNhetisjE3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B7Uf6NQcSpdmB2hkyL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heme/theme1.xml><?xml version="1.0" encoding="utf-8"?>
<a:theme xmlns:a="http://schemas.openxmlformats.org/drawingml/2006/main" name="EUREX EX">
  <a:themeElements>
    <a:clrScheme name="EUREX">
      <a:dk1>
        <a:srgbClr val="201751"/>
      </a:dk1>
      <a:lt1>
        <a:srgbClr val="FEFFFF"/>
      </a:lt1>
      <a:dk2>
        <a:srgbClr val="00CE7D"/>
      </a:dk2>
      <a:lt2>
        <a:srgbClr val="F3F3F3"/>
      </a:lt2>
      <a:accent1>
        <a:srgbClr val="201751"/>
      </a:accent1>
      <a:accent2>
        <a:srgbClr val="00CE7D"/>
      </a:accent2>
      <a:accent3>
        <a:srgbClr val="00454D"/>
      </a:accent3>
      <a:accent4>
        <a:srgbClr val="3C7DBE"/>
      </a:accent4>
      <a:accent5>
        <a:srgbClr val="DCDCDC"/>
      </a:accent5>
      <a:accent6>
        <a:srgbClr val="F3F3F3"/>
      </a:accent6>
      <a:hlink>
        <a:srgbClr val="00CE7D"/>
      </a:hlink>
      <a:folHlink>
        <a:srgbClr val="201751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bIns="792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Eurex Blue">
      <a:srgbClr val="201751"/>
    </a:custClr>
    <a:custClr name="Teal">
      <a:srgbClr val="00454D"/>
    </a:custClr>
    <a:custClr name="Purple">
      <a:srgbClr val="66348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Eurex Green">
      <a:srgbClr val="00CE7D"/>
    </a:custClr>
    <a:custClr name="Light Blue">
      <a:srgbClr val="3C7DBE"/>
    </a:custClr>
    <a:custClr name="Peach">
      <a:srgbClr val="FFAAA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Eurex Light Grey">
      <a:srgbClr val="F3F3F3"/>
    </a:custClr>
    <a:custClr name="Grey">
      <a:srgbClr val="DCDCDC"/>
    </a:custClr>
    <a:custClr name="Aqua Mint">
      <a:srgbClr val="A0DC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0709_Eurex_EX_PPT_Template.pptx" id="{8C1AF5A3-D145-4E80-BE19-BC9F9E84D5A5}" vid="{2420EDA1-CBC0-46FA-B31A-AA69979F1E75}"/>
    </a:ext>
  </a:extLst>
</a:theme>
</file>

<file path=ppt/theme/theme2.xml><?xml version="1.0" encoding="utf-8"?>
<a:theme xmlns:a="http://schemas.openxmlformats.org/drawingml/2006/main" name="Office">
  <a:themeElements>
    <a:clrScheme name="Benutzerdefiniert 143">
      <a:dk1>
        <a:srgbClr val="000099"/>
      </a:dk1>
      <a:lt1>
        <a:sysClr val="window" lastClr="FFFFFF"/>
      </a:lt1>
      <a:dk2>
        <a:srgbClr val="696969"/>
      </a:dk2>
      <a:lt2>
        <a:srgbClr val="BDBDBD"/>
      </a:lt2>
      <a:accent1>
        <a:srgbClr val="000099"/>
      </a:accent1>
      <a:accent2>
        <a:srgbClr val="00A5FF"/>
      </a:accent2>
      <a:accent3>
        <a:srgbClr val="8CDCFF"/>
      </a:accent3>
      <a:accent4>
        <a:srgbClr val="404040"/>
      </a:accent4>
      <a:accent5>
        <a:srgbClr val="696969"/>
      </a:accent5>
      <a:accent6>
        <a:srgbClr val="BDBDBD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43">
      <a:dk1>
        <a:srgbClr val="000099"/>
      </a:dk1>
      <a:lt1>
        <a:sysClr val="window" lastClr="FFFFFF"/>
      </a:lt1>
      <a:dk2>
        <a:srgbClr val="696969"/>
      </a:dk2>
      <a:lt2>
        <a:srgbClr val="BDBDBD"/>
      </a:lt2>
      <a:accent1>
        <a:srgbClr val="000099"/>
      </a:accent1>
      <a:accent2>
        <a:srgbClr val="00A5FF"/>
      </a:accent2>
      <a:accent3>
        <a:srgbClr val="8CDCFF"/>
      </a:accent3>
      <a:accent4>
        <a:srgbClr val="404040"/>
      </a:accent4>
      <a:accent5>
        <a:srgbClr val="696969"/>
      </a:accent5>
      <a:accent6>
        <a:srgbClr val="BDBDBD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FA1A456BB2474CA0988A479C79164C" ma:contentTypeVersion="1" ma:contentTypeDescription="Create a new document." ma:contentTypeScope="" ma:versionID="bff8b78d8d7dc9ed23c4093ec420ab79">
  <xsd:schema xmlns:xsd="http://www.w3.org/2001/XMLSchema" xmlns:xs="http://www.w3.org/2001/XMLSchema" xmlns:p="http://schemas.microsoft.com/office/2006/metadata/properties" xmlns:ns2="df4d7699-4ea4-4ced-9b2a-186e24d6677e" targetNamespace="http://schemas.microsoft.com/office/2006/metadata/properties" ma:root="true" ma:fieldsID="260ade15b387eab0117e44c0ebc80b3c" ns2:_="">
    <xsd:import namespace="df4d7699-4ea4-4ced-9b2a-186e24d6677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d7699-4ea4-4ced-9b2a-186e24d667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+T0FBRFxmczE2MzwvVXNlck5hbWU+PERhdGVUaW1lPjA2LjA3LjIwMjAgMDc6MDc6MTQ8L0RhdGVUaW1lPjxMYWJlbFN0cmluZz5JbnRlcm5hbDwvTGFiZWxTdHJpbmc+PC9pdGVtPjwvbGFiZWxIaXN0b3J5Pg==</Value>
</WrappedLabelHistory>
</file>

<file path=customXml/item5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defaultValue">
  <element uid="id_classification_internalonly" value=""/>
</sisl>
</file>

<file path=customXml/itemProps1.xml><?xml version="1.0" encoding="utf-8"?>
<ds:datastoreItem xmlns:ds="http://schemas.openxmlformats.org/officeDocument/2006/customXml" ds:itemID="{039D0784-36B6-4930-99C5-7C9AFEFBD9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4d7699-4ea4-4ced-9b2a-186e24d6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C2374D-CD9E-4A85-BB91-5EDF003BEB0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f4d7699-4ea4-4ced-9b2a-186e24d6677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100CE57-8C6A-425A-8EDC-17F7ED36948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99CB585-2336-43C2-AB32-C15289EAD842}">
  <ds:schemaRefs>
    <ds:schemaRef ds:uri="http://www.w3.org/2001/XMLSchema"/>
    <ds:schemaRef ds:uri="http://www.boldonjames.com/2016/02/Classifier/internal/wrappedLabelHistory"/>
  </ds:schemaRefs>
</ds:datastoreItem>
</file>

<file path=customXml/itemProps5.xml><?xml version="1.0" encoding="utf-8"?>
<ds:datastoreItem xmlns:ds="http://schemas.openxmlformats.org/officeDocument/2006/customXml" ds:itemID="{3E78D0F4-55EE-41EA-8362-D0CA5EC3FEE8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0724_Eurex_EX_PPT_Template</Template>
  <TotalTime>0</TotalTime>
  <Words>341</Words>
  <Application>Microsoft Office PowerPoint</Application>
  <PresentationFormat>Widescreen</PresentationFormat>
  <Paragraphs>4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Wingdings</vt:lpstr>
      <vt:lpstr>EUREX EX</vt:lpstr>
      <vt:lpstr>think-cell Slide</vt:lpstr>
      <vt:lpstr>Eurex EnLight </vt:lpstr>
      <vt:lpstr>Eurex EnLight Submit RFQ Quick Start </vt:lpstr>
      <vt:lpstr>Eurex EnLight Dealing</vt:lpstr>
      <vt:lpstr>Eurex EnLight Requester Details Setting Defaults  </vt:lpstr>
      <vt:lpstr>Eurex EnLight Responder Quick Start Guide</vt:lpstr>
      <vt:lpstr>Eurex EnLight Quote Entry Setting Defaults</vt:lpstr>
    </vt:vector>
  </TitlesOfParts>
  <Company>Deutsche Börs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Title (43 pt)</dc:title>
  <dc:creator>Fabian Ziegler</dc:creator>
  <cp:lastModifiedBy>Sara Kovacic</cp:lastModifiedBy>
  <cp:revision>45</cp:revision>
  <cp:lastPrinted>2020-07-06T13:20:28Z</cp:lastPrinted>
  <dcterms:created xsi:type="dcterms:W3CDTF">2020-11-18T13:32:11Z</dcterms:created>
  <dcterms:modified xsi:type="dcterms:W3CDTF">2022-01-17T13:0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60339e2b-e456-45f4-ae0c-95d3b53305ad</vt:lpwstr>
  </property>
  <property fmtid="{D5CDD505-2E9C-101B-9397-08002B2CF9AE}" pid="3" name="bjDocumentLabelXML">
    <vt:lpwstr>&lt;?xml version="1.0" encoding="us-ascii"?&gt;&lt;sisl xmlns:xsi="http://www.w3.org/2001/XMLSchema-instance" xmlns:xsd="http://www.w3.org/2001/XMLSchema" sislVersion="0" policy="5e216652-7cb1-42d3-a22f-fb5c7f348db5" origin="defaultValue" xmlns="http://www.boldonj</vt:lpwstr>
  </property>
  <property fmtid="{D5CDD505-2E9C-101B-9397-08002B2CF9AE}" pid="4" name="bjDocumentLabelXML-0">
    <vt:lpwstr>ames.com/2008/01/sie/internal/label"&gt;&lt;element uid="id_classification_internalonly" value="" /&gt;&lt;/sisl&gt;</vt:lpwstr>
  </property>
  <property fmtid="{D5CDD505-2E9C-101B-9397-08002B2CF9AE}" pid="5" name="bjDocumentSecurityLabel">
    <vt:lpwstr>Internal</vt:lpwstr>
  </property>
  <property fmtid="{D5CDD505-2E9C-101B-9397-08002B2CF9AE}" pid="6" name="DBG_Classification_ID">
    <vt:lpwstr>2</vt:lpwstr>
  </property>
  <property fmtid="{D5CDD505-2E9C-101B-9397-08002B2CF9AE}" pid="7" name="DBG_Classification_Name">
    <vt:lpwstr>Internal</vt:lpwstr>
  </property>
  <property fmtid="{D5CDD505-2E9C-101B-9397-08002B2CF9AE}" pid="8" name="bjSaver">
    <vt:lpwstr>vnPAeyMGvls4PXsQK3RIBA+hjsOsLQ8W</vt:lpwstr>
  </property>
  <property fmtid="{D5CDD505-2E9C-101B-9397-08002B2CF9AE}" pid="9" name="ContentTypeId">
    <vt:lpwstr>0x0101001CFA1A456BB2474CA0988A479C79164C</vt:lpwstr>
  </property>
  <property fmtid="{D5CDD505-2E9C-101B-9397-08002B2CF9AE}" pid="10" name="bjLabelHistoryID">
    <vt:lpwstr>{599CB585-2336-43C2-AB32-C15289EAD842}</vt:lpwstr>
  </property>
  <property fmtid="{D5CDD505-2E9C-101B-9397-08002B2CF9AE}" pid="11" name="MSIP_Label_2e952e98-911c-4aff-840a-f71bc6baaf7f_Enabled">
    <vt:lpwstr>true</vt:lpwstr>
  </property>
  <property fmtid="{D5CDD505-2E9C-101B-9397-08002B2CF9AE}" pid="12" name="MSIP_Label_2e952e98-911c-4aff-840a-f71bc6baaf7f_SetDate">
    <vt:lpwstr>2022-01-17T13:07:46Z</vt:lpwstr>
  </property>
  <property fmtid="{D5CDD505-2E9C-101B-9397-08002B2CF9AE}" pid="13" name="MSIP_Label_2e952e98-911c-4aff-840a-f71bc6baaf7f_Method">
    <vt:lpwstr>Standard</vt:lpwstr>
  </property>
  <property fmtid="{D5CDD505-2E9C-101B-9397-08002B2CF9AE}" pid="14" name="MSIP_Label_2e952e98-911c-4aff-840a-f71bc6baaf7f_Name">
    <vt:lpwstr>2e952e98-911c-4aff-840a-f71bc6baaf7f</vt:lpwstr>
  </property>
  <property fmtid="{D5CDD505-2E9C-101B-9397-08002B2CF9AE}" pid="15" name="MSIP_Label_2e952e98-911c-4aff-840a-f71bc6baaf7f_SiteId">
    <vt:lpwstr>e00ddcdf-1e0f-4be5-a37a-894a4731986a</vt:lpwstr>
  </property>
  <property fmtid="{D5CDD505-2E9C-101B-9397-08002B2CF9AE}" pid="16" name="MSIP_Label_2e952e98-911c-4aff-840a-f71bc6baaf7f_ActionId">
    <vt:lpwstr>bdfe2910-99b3-4e0a-9d0a-2e05b70a0f06</vt:lpwstr>
  </property>
  <property fmtid="{D5CDD505-2E9C-101B-9397-08002B2CF9AE}" pid="17" name="MSIP_Label_2e952e98-911c-4aff-840a-f71bc6baaf7f_ContentBits">
    <vt:lpwstr>2</vt:lpwstr>
  </property>
</Properties>
</file>